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84"/>
  </p:notesMasterIdLst>
  <p:sldIdLst>
    <p:sldId id="288" r:id="rId5"/>
    <p:sldId id="258" r:id="rId6"/>
    <p:sldId id="279" r:id="rId7"/>
    <p:sldId id="289" r:id="rId8"/>
    <p:sldId id="290" r:id="rId9"/>
    <p:sldId id="296" r:id="rId10"/>
    <p:sldId id="295" r:id="rId11"/>
    <p:sldId id="291" r:id="rId12"/>
    <p:sldId id="297" r:id="rId13"/>
    <p:sldId id="298" r:id="rId14"/>
    <p:sldId id="292" r:id="rId15"/>
    <p:sldId id="300" r:id="rId16"/>
    <p:sldId id="299" r:id="rId17"/>
    <p:sldId id="302" r:id="rId18"/>
    <p:sldId id="301" r:id="rId19"/>
    <p:sldId id="293" r:id="rId20"/>
    <p:sldId id="307" r:id="rId21"/>
    <p:sldId id="308" r:id="rId22"/>
    <p:sldId id="294" r:id="rId23"/>
    <p:sldId id="303" r:id="rId24"/>
    <p:sldId id="309" r:id="rId25"/>
    <p:sldId id="304" r:id="rId26"/>
    <p:sldId id="310" r:id="rId27"/>
    <p:sldId id="311" r:id="rId28"/>
    <p:sldId id="305" r:id="rId29"/>
    <p:sldId id="306" r:id="rId30"/>
    <p:sldId id="312" r:id="rId31"/>
    <p:sldId id="313" r:id="rId32"/>
    <p:sldId id="314" r:id="rId33"/>
    <p:sldId id="315" r:id="rId34"/>
    <p:sldId id="321" r:id="rId35"/>
    <p:sldId id="317" r:id="rId36"/>
    <p:sldId id="322" r:id="rId37"/>
    <p:sldId id="318" r:id="rId38"/>
    <p:sldId id="323" r:id="rId39"/>
    <p:sldId id="1476" r:id="rId40"/>
    <p:sldId id="1475" r:id="rId41"/>
    <p:sldId id="1477" r:id="rId42"/>
    <p:sldId id="1480" r:id="rId43"/>
    <p:sldId id="1479" r:id="rId44"/>
    <p:sldId id="1478" r:id="rId45"/>
    <p:sldId id="320" r:id="rId46"/>
    <p:sldId id="319" r:id="rId47"/>
    <p:sldId id="1481" r:id="rId48"/>
    <p:sldId id="1486" r:id="rId49"/>
    <p:sldId id="1487" r:id="rId50"/>
    <p:sldId id="1488" r:id="rId51"/>
    <p:sldId id="1489" r:id="rId52"/>
    <p:sldId id="1490" r:id="rId53"/>
    <p:sldId id="1491" r:id="rId54"/>
    <p:sldId id="1482" r:id="rId55"/>
    <p:sldId id="1483" r:id="rId56"/>
    <p:sldId id="1484" r:id="rId57"/>
    <p:sldId id="1494" r:id="rId58"/>
    <p:sldId id="1493" r:id="rId59"/>
    <p:sldId id="1495" r:id="rId60"/>
    <p:sldId id="1485" r:id="rId61"/>
    <p:sldId id="1501" r:id="rId62"/>
    <p:sldId id="1502" r:id="rId63"/>
    <p:sldId id="1497" r:id="rId64"/>
    <p:sldId id="1458" r:id="rId65"/>
    <p:sldId id="1463" r:id="rId66"/>
    <p:sldId id="1459" r:id="rId67"/>
    <p:sldId id="1464" r:id="rId68"/>
    <p:sldId id="1460" r:id="rId69"/>
    <p:sldId id="1465" r:id="rId70"/>
    <p:sldId id="1461" r:id="rId71"/>
    <p:sldId id="1466" r:id="rId72"/>
    <p:sldId id="1496" r:id="rId73"/>
    <p:sldId id="1503" r:id="rId74"/>
    <p:sldId id="1498" r:id="rId75"/>
    <p:sldId id="1499" r:id="rId76"/>
    <p:sldId id="1504" r:id="rId77"/>
    <p:sldId id="1510" r:id="rId78"/>
    <p:sldId id="1511" r:id="rId79"/>
    <p:sldId id="1512" r:id="rId80"/>
    <p:sldId id="1505" r:id="rId81"/>
    <p:sldId id="1506" r:id="rId82"/>
    <p:sldId id="1507" r:id="rId83"/>
  </p:sldIdLst>
  <p:sldSz cx="12192000" cy="6858000"/>
  <p:notesSz cx="6858000" cy="9144000"/>
  <p:custDataLst>
    <p:tags r:id="rId8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peaker Sessions" id="{A4CA5440-4614-4F22-BA68-77BB4C6739D5}">
          <p14:sldIdLst/>
        </p14:section>
        <p14:section name="Power Summit Slides" id="{C5AFE659-7835-41C3-B1AB-F7CE31DA9D18}">
          <p14:sldIdLst>
            <p14:sldId id="288"/>
          </p14:sldIdLst>
        </p14:section>
        <p14:section name="Templates" id="{7A46FA16-37E2-41B5-8FC3-7F86F14B514A}">
          <p14:sldIdLst>
            <p14:sldId id="258"/>
            <p14:sldId id="279"/>
            <p14:sldId id="289"/>
            <p14:sldId id="290"/>
            <p14:sldId id="296"/>
            <p14:sldId id="295"/>
            <p14:sldId id="291"/>
            <p14:sldId id="297"/>
            <p14:sldId id="298"/>
            <p14:sldId id="292"/>
            <p14:sldId id="300"/>
            <p14:sldId id="299"/>
            <p14:sldId id="302"/>
            <p14:sldId id="301"/>
            <p14:sldId id="293"/>
            <p14:sldId id="307"/>
            <p14:sldId id="308"/>
            <p14:sldId id="294"/>
            <p14:sldId id="303"/>
            <p14:sldId id="309"/>
            <p14:sldId id="304"/>
            <p14:sldId id="310"/>
            <p14:sldId id="311"/>
            <p14:sldId id="305"/>
            <p14:sldId id="306"/>
            <p14:sldId id="312"/>
            <p14:sldId id="313"/>
            <p14:sldId id="314"/>
            <p14:sldId id="315"/>
            <p14:sldId id="321"/>
            <p14:sldId id="317"/>
            <p14:sldId id="322"/>
            <p14:sldId id="318"/>
            <p14:sldId id="323"/>
            <p14:sldId id="1476"/>
            <p14:sldId id="1475"/>
            <p14:sldId id="1477"/>
            <p14:sldId id="1480"/>
            <p14:sldId id="1479"/>
            <p14:sldId id="1478"/>
            <p14:sldId id="320"/>
            <p14:sldId id="319"/>
            <p14:sldId id="1481"/>
            <p14:sldId id="1486"/>
            <p14:sldId id="1487"/>
            <p14:sldId id="1488"/>
            <p14:sldId id="1489"/>
            <p14:sldId id="1490"/>
            <p14:sldId id="1491"/>
            <p14:sldId id="1482"/>
            <p14:sldId id="1483"/>
            <p14:sldId id="1484"/>
            <p14:sldId id="1494"/>
            <p14:sldId id="1493"/>
            <p14:sldId id="1495"/>
            <p14:sldId id="1485"/>
            <p14:sldId id="1501"/>
            <p14:sldId id="1502"/>
            <p14:sldId id="1497"/>
            <p14:sldId id="1458"/>
            <p14:sldId id="1463"/>
            <p14:sldId id="1459"/>
            <p14:sldId id="1464"/>
            <p14:sldId id="1460"/>
            <p14:sldId id="1465"/>
            <p14:sldId id="1461"/>
            <p14:sldId id="1466"/>
            <p14:sldId id="1496"/>
            <p14:sldId id="1503"/>
            <p14:sldId id="1498"/>
            <p14:sldId id="1499"/>
            <p14:sldId id="1504"/>
            <p14:sldId id="1510"/>
            <p14:sldId id="1511"/>
            <p14:sldId id="1512"/>
            <p14:sldId id="1505"/>
            <p14:sldId id="1506"/>
            <p14:sldId id="150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467"/>
    <a:srgbClr val="980C0C"/>
    <a:srgbClr val="E41212"/>
    <a:srgbClr val="2089D0"/>
    <a:srgbClr val="2C7CC4"/>
    <a:srgbClr val="B08E00"/>
    <a:srgbClr val="D01012"/>
    <a:srgbClr val="FFD100"/>
    <a:srgbClr val="00FE73"/>
    <a:srgbClr val="007C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664071-EA5C-4A34-9256-B0062703447E}" v="100" dt="2025-02-12T23:38:16.7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2" autoAdjust="0"/>
    <p:restoredTop sz="94444" autoAdjust="0"/>
  </p:normalViewPr>
  <p:slideViewPr>
    <p:cSldViewPr snapToGrid="0" showGuides="1">
      <p:cViewPr varScale="1">
        <p:scale>
          <a:sx n="150" d="100"/>
          <a:sy n="150" d="100"/>
        </p:scale>
        <p:origin x="62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notesMaster" Target="notesMasters/notesMaster1.xml"/><Relationship Id="rId89" Type="http://schemas.openxmlformats.org/officeDocument/2006/relationships/tableStyles" Target="tableStyles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5" Type="http://schemas.openxmlformats.org/officeDocument/2006/relationships/slide" Target="slides/slide1.xml"/><Relationship Id="rId90" Type="http://schemas.microsoft.com/office/2016/11/relationships/changesInfo" Target="changesInfos/changesInfo1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theme" Target="theme/theme1.xml"/><Relationship Id="rId9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viewProps" Target="viewProps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than Clouse" userId="60190519-0423-46ec-ac65-f82d83ecfd9c" providerId="ADAL" clId="{88664071-EA5C-4A34-9256-B0062703447E}"/>
    <pc:docChg chg="undo custSel addSld delSld modSld sldOrd modSection">
      <pc:chgData name="Nathan Clouse" userId="60190519-0423-46ec-ac65-f82d83ecfd9c" providerId="ADAL" clId="{88664071-EA5C-4A34-9256-B0062703447E}" dt="2025-02-14T03:57:44.894" v="970" actId="47"/>
      <pc:docMkLst>
        <pc:docMk/>
      </pc:docMkLst>
      <pc:sldChg chg="modSp del mod">
        <pc:chgData name="Nathan Clouse" userId="60190519-0423-46ec-ac65-f82d83ecfd9c" providerId="ADAL" clId="{88664071-EA5C-4A34-9256-B0062703447E}" dt="2025-02-14T03:56:40.800" v="966" actId="47"/>
        <pc:sldMkLst>
          <pc:docMk/>
          <pc:sldMk cId="2972571144" sldId="256"/>
        </pc:sldMkLst>
      </pc:sldChg>
      <pc:sldChg chg="del mod modShow">
        <pc:chgData name="Nathan Clouse" userId="60190519-0423-46ec-ac65-f82d83ecfd9c" providerId="ADAL" clId="{88664071-EA5C-4A34-9256-B0062703447E}" dt="2025-02-14T03:56:02.278" v="964" actId="2696"/>
        <pc:sldMkLst>
          <pc:docMk/>
          <pc:sldMk cId="3172724073" sldId="257"/>
        </pc:sldMkLst>
      </pc:sldChg>
      <pc:sldChg chg="modSp mod">
        <pc:chgData name="Nathan Clouse" userId="60190519-0423-46ec-ac65-f82d83ecfd9c" providerId="ADAL" clId="{88664071-EA5C-4A34-9256-B0062703447E}" dt="2025-02-09T14:40:10.573" v="107" actId="403"/>
        <pc:sldMkLst>
          <pc:docMk/>
          <pc:sldMk cId="22665761" sldId="258"/>
        </pc:sldMkLst>
        <pc:spChg chg="mod">
          <ac:chgData name="Nathan Clouse" userId="60190519-0423-46ec-ac65-f82d83ecfd9c" providerId="ADAL" clId="{88664071-EA5C-4A34-9256-B0062703447E}" dt="2025-02-09T14:35:51.135" v="68" actId="20577"/>
          <ac:spMkLst>
            <pc:docMk/>
            <pc:sldMk cId="22665761" sldId="258"/>
            <ac:spMk id="29" creationId="{1703243E-44E4-457F-80BE-7AA8096FA079}"/>
          </ac:spMkLst>
        </pc:spChg>
        <pc:spChg chg="mod">
          <ac:chgData name="Nathan Clouse" userId="60190519-0423-46ec-ac65-f82d83ecfd9c" providerId="ADAL" clId="{88664071-EA5C-4A34-9256-B0062703447E}" dt="2025-02-09T14:35:53.697" v="69" actId="6549"/>
          <ac:spMkLst>
            <pc:docMk/>
            <pc:sldMk cId="22665761" sldId="258"/>
            <ac:spMk id="50" creationId="{E63FFAA8-15DA-4D24-AB88-1B8C66AC4264}"/>
          </ac:spMkLst>
        </pc:spChg>
        <pc:spChg chg="mod">
          <ac:chgData name="Nathan Clouse" userId="60190519-0423-46ec-ac65-f82d83ecfd9c" providerId="ADAL" clId="{88664071-EA5C-4A34-9256-B0062703447E}" dt="2025-02-09T14:36:56.680" v="94" actId="403"/>
          <ac:spMkLst>
            <pc:docMk/>
            <pc:sldMk cId="22665761" sldId="258"/>
            <ac:spMk id="86" creationId="{81C6A724-0FB4-4D8E-99FB-28A176D6CD9F}"/>
          </ac:spMkLst>
        </pc:spChg>
        <pc:spChg chg="mod">
          <ac:chgData name="Nathan Clouse" userId="60190519-0423-46ec-ac65-f82d83ecfd9c" providerId="ADAL" clId="{88664071-EA5C-4A34-9256-B0062703447E}" dt="2025-02-09T14:40:00.194" v="100" actId="403"/>
          <ac:spMkLst>
            <pc:docMk/>
            <pc:sldMk cId="22665761" sldId="258"/>
            <ac:spMk id="87" creationId="{07DB6CF9-2821-494E-8A5D-14146280FE23}"/>
          </ac:spMkLst>
        </pc:spChg>
        <pc:spChg chg="mod">
          <ac:chgData name="Nathan Clouse" userId="60190519-0423-46ec-ac65-f82d83ecfd9c" providerId="ADAL" clId="{88664071-EA5C-4A34-9256-B0062703447E}" dt="2025-02-09T14:40:10.573" v="107" actId="403"/>
          <ac:spMkLst>
            <pc:docMk/>
            <pc:sldMk cId="22665761" sldId="258"/>
            <ac:spMk id="88" creationId="{8DE727F1-8EF1-45DC-822E-56C2113332A5}"/>
          </ac:spMkLst>
        </pc:spChg>
      </pc:sldChg>
      <pc:sldChg chg="del mod modShow">
        <pc:chgData name="Nathan Clouse" userId="60190519-0423-46ec-ac65-f82d83ecfd9c" providerId="ADAL" clId="{88664071-EA5C-4A34-9256-B0062703447E}" dt="2025-02-14T03:56:02.278" v="964" actId="2696"/>
        <pc:sldMkLst>
          <pc:docMk/>
          <pc:sldMk cId="1873990172" sldId="259"/>
        </pc:sldMkLst>
      </pc:sldChg>
      <pc:sldChg chg="del mod modShow">
        <pc:chgData name="Nathan Clouse" userId="60190519-0423-46ec-ac65-f82d83ecfd9c" providerId="ADAL" clId="{88664071-EA5C-4A34-9256-B0062703447E}" dt="2025-02-14T03:56:02.278" v="964" actId="2696"/>
        <pc:sldMkLst>
          <pc:docMk/>
          <pc:sldMk cId="3300207005" sldId="260"/>
        </pc:sldMkLst>
      </pc:sldChg>
      <pc:sldChg chg="del mod modShow">
        <pc:chgData name="Nathan Clouse" userId="60190519-0423-46ec-ac65-f82d83ecfd9c" providerId="ADAL" clId="{88664071-EA5C-4A34-9256-B0062703447E}" dt="2025-02-14T03:56:02.278" v="964" actId="2696"/>
        <pc:sldMkLst>
          <pc:docMk/>
          <pc:sldMk cId="361220971" sldId="261"/>
        </pc:sldMkLst>
      </pc:sldChg>
      <pc:sldChg chg="del mod modShow">
        <pc:chgData name="Nathan Clouse" userId="60190519-0423-46ec-ac65-f82d83ecfd9c" providerId="ADAL" clId="{88664071-EA5C-4A34-9256-B0062703447E}" dt="2025-02-14T03:56:02.278" v="964" actId="2696"/>
        <pc:sldMkLst>
          <pc:docMk/>
          <pc:sldMk cId="2762696595" sldId="262"/>
        </pc:sldMkLst>
      </pc:sldChg>
      <pc:sldChg chg="del mod modShow">
        <pc:chgData name="Nathan Clouse" userId="60190519-0423-46ec-ac65-f82d83ecfd9c" providerId="ADAL" clId="{88664071-EA5C-4A34-9256-B0062703447E}" dt="2025-02-14T03:56:02.278" v="964" actId="2696"/>
        <pc:sldMkLst>
          <pc:docMk/>
          <pc:sldMk cId="2023237709" sldId="264"/>
        </pc:sldMkLst>
      </pc:sldChg>
      <pc:sldChg chg="del mod modShow">
        <pc:chgData name="Nathan Clouse" userId="60190519-0423-46ec-ac65-f82d83ecfd9c" providerId="ADAL" clId="{88664071-EA5C-4A34-9256-B0062703447E}" dt="2025-02-14T03:56:02.278" v="964" actId="2696"/>
        <pc:sldMkLst>
          <pc:docMk/>
          <pc:sldMk cId="405277657" sldId="267"/>
        </pc:sldMkLst>
      </pc:sldChg>
      <pc:sldChg chg="del">
        <pc:chgData name="Nathan Clouse" userId="60190519-0423-46ec-ac65-f82d83ecfd9c" providerId="ADAL" clId="{88664071-EA5C-4A34-9256-B0062703447E}" dt="2025-02-09T14:35:42.927" v="62" actId="2696"/>
        <pc:sldMkLst>
          <pc:docMk/>
          <pc:sldMk cId="3270601113" sldId="274"/>
        </pc:sldMkLst>
      </pc:sldChg>
      <pc:sldChg chg="del mod modShow">
        <pc:chgData name="Nathan Clouse" userId="60190519-0423-46ec-ac65-f82d83ecfd9c" providerId="ADAL" clId="{88664071-EA5C-4A34-9256-B0062703447E}" dt="2025-02-14T03:56:02.278" v="964" actId="2696"/>
        <pc:sldMkLst>
          <pc:docMk/>
          <pc:sldMk cId="2761739746" sldId="277"/>
        </pc:sldMkLst>
      </pc:sldChg>
      <pc:sldChg chg="modSp mod">
        <pc:chgData name="Nathan Clouse" userId="60190519-0423-46ec-ac65-f82d83ecfd9c" providerId="ADAL" clId="{88664071-EA5C-4A34-9256-B0062703447E}" dt="2025-02-12T22:07:48.972" v="773" actId="403"/>
        <pc:sldMkLst>
          <pc:docMk/>
          <pc:sldMk cId="1490033260" sldId="279"/>
        </pc:sldMkLst>
        <pc:spChg chg="mod">
          <ac:chgData name="Nathan Clouse" userId="60190519-0423-46ec-ac65-f82d83ecfd9c" providerId="ADAL" clId="{88664071-EA5C-4A34-9256-B0062703447E}" dt="2025-02-12T22:07:48.972" v="773" actId="403"/>
          <ac:spMkLst>
            <pc:docMk/>
            <pc:sldMk cId="1490033260" sldId="279"/>
            <ac:spMk id="3" creationId="{DECCB398-1B0C-6E46-E515-15AA78A5E5D7}"/>
          </ac:spMkLst>
        </pc:spChg>
        <pc:spChg chg="mod">
          <ac:chgData name="Nathan Clouse" userId="60190519-0423-46ec-ac65-f82d83ecfd9c" providerId="ADAL" clId="{88664071-EA5C-4A34-9256-B0062703447E}" dt="2025-02-09T14:43:10.611" v="197" actId="20577"/>
          <ac:spMkLst>
            <pc:docMk/>
            <pc:sldMk cId="1490033260" sldId="279"/>
            <ac:spMk id="17" creationId="{10A6EFB4-EB70-F5E7-71F2-602F7ADFAED0}"/>
          </ac:spMkLst>
        </pc:spChg>
      </pc:sldChg>
      <pc:sldChg chg="del mod modShow">
        <pc:chgData name="Nathan Clouse" userId="60190519-0423-46ec-ac65-f82d83ecfd9c" providerId="ADAL" clId="{88664071-EA5C-4A34-9256-B0062703447E}" dt="2025-02-14T03:56:02.278" v="964" actId="2696"/>
        <pc:sldMkLst>
          <pc:docMk/>
          <pc:sldMk cId="783914003" sldId="281"/>
        </pc:sldMkLst>
      </pc:sldChg>
      <pc:sldChg chg="modSp del mod ord">
        <pc:chgData name="Nathan Clouse" userId="60190519-0423-46ec-ac65-f82d83ecfd9c" providerId="ADAL" clId="{88664071-EA5C-4A34-9256-B0062703447E}" dt="2025-02-14T03:57:20.217" v="968" actId="47"/>
        <pc:sldMkLst>
          <pc:docMk/>
          <pc:sldMk cId="3799686478" sldId="282"/>
        </pc:sldMkLst>
      </pc:sldChg>
      <pc:sldChg chg="del mod modShow">
        <pc:chgData name="Nathan Clouse" userId="60190519-0423-46ec-ac65-f82d83ecfd9c" providerId="ADAL" clId="{88664071-EA5C-4A34-9256-B0062703447E}" dt="2025-02-14T03:56:02.278" v="964" actId="2696"/>
        <pc:sldMkLst>
          <pc:docMk/>
          <pc:sldMk cId="2281397524" sldId="283"/>
        </pc:sldMkLst>
      </pc:sldChg>
      <pc:sldChg chg="del mod modShow">
        <pc:chgData name="Nathan Clouse" userId="60190519-0423-46ec-ac65-f82d83ecfd9c" providerId="ADAL" clId="{88664071-EA5C-4A34-9256-B0062703447E}" dt="2025-02-14T03:56:02.278" v="964" actId="2696"/>
        <pc:sldMkLst>
          <pc:docMk/>
          <pc:sldMk cId="1705195333" sldId="284"/>
        </pc:sldMkLst>
      </pc:sldChg>
      <pc:sldChg chg="del">
        <pc:chgData name="Nathan Clouse" userId="60190519-0423-46ec-ac65-f82d83ecfd9c" providerId="ADAL" clId="{88664071-EA5C-4A34-9256-B0062703447E}" dt="2025-02-14T03:56:12.464" v="965" actId="2696"/>
        <pc:sldMkLst>
          <pc:docMk/>
          <pc:sldMk cId="921482421" sldId="286"/>
        </pc:sldMkLst>
      </pc:sldChg>
      <pc:sldChg chg="new del">
        <pc:chgData name="Nathan Clouse" userId="60190519-0423-46ec-ac65-f82d83ecfd9c" providerId="ADAL" clId="{88664071-EA5C-4A34-9256-B0062703447E}" dt="2025-02-09T14:40:41.360" v="110" actId="47"/>
        <pc:sldMkLst>
          <pc:docMk/>
          <pc:sldMk cId="3319614869" sldId="287"/>
        </pc:sldMkLst>
      </pc:sldChg>
      <pc:sldChg chg="addSp modSp add mod">
        <pc:chgData name="Nathan Clouse" userId="60190519-0423-46ec-ac65-f82d83ecfd9c" providerId="ADAL" clId="{88664071-EA5C-4A34-9256-B0062703447E}" dt="2025-02-09T14:42:35.303" v="168" actId="1076"/>
        <pc:sldMkLst>
          <pc:docMk/>
          <pc:sldMk cId="3390441715" sldId="288"/>
        </pc:sldMkLst>
        <pc:spChg chg="mod">
          <ac:chgData name="Nathan Clouse" userId="60190519-0423-46ec-ac65-f82d83ecfd9c" providerId="ADAL" clId="{88664071-EA5C-4A34-9256-B0062703447E}" dt="2025-02-09T14:41:26.718" v="131" actId="20577"/>
          <ac:spMkLst>
            <pc:docMk/>
            <pc:sldMk cId="3390441715" sldId="288"/>
            <ac:spMk id="3" creationId="{004FFD29-0FA9-9589-FECF-9D2FB8B56832}"/>
          </ac:spMkLst>
        </pc:spChg>
        <pc:spChg chg="add mod">
          <ac:chgData name="Nathan Clouse" userId="60190519-0423-46ec-ac65-f82d83ecfd9c" providerId="ADAL" clId="{88664071-EA5C-4A34-9256-B0062703447E}" dt="2025-02-09T14:42:35.303" v="168" actId="1076"/>
          <ac:spMkLst>
            <pc:docMk/>
            <pc:sldMk cId="3390441715" sldId="288"/>
            <ac:spMk id="5" creationId="{60138D95-7985-BAE3-49EC-63F2397AF232}"/>
          </ac:spMkLst>
        </pc:spChg>
        <pc:spChg chg="add mod">
          <ac:chgData name="Nathan Clouse" userId="60190519-0423-46ec-ac65-f82d83ecfd9c" providerId="ADAL" clId="{88664071-EA5C-4A34-9256-B0062703447E}" dt="2025-02-09T14:42:35.303" v="168" actId="1076"/>
          <ac:spMkLst>
            <pc:docMk/>
            <pc:sldMk cId="3390441715" sldId="288"/>
            <ac:spMk id="6" creationId="{11EE7844-3C8F-A80F-6BA5-87DA4C1E7AD6}"/>
          </ac:spMkLst>
        </pc:spChg>
        <pc:spChg chg="mod">
          <ac:chgData name="Nathan Clouse" userId="60190519-0423-46ec-ac65-f82d83ecfd9c" providerId="ADAL" clId="{88664071-EA5C-4A34-9256-B0062703447E}" dt="2025-02-09T14:40:48.471" v="117" actId="20577"/>
          <ac:spMkLst>
            <pc:docMk/>
            <pc:sldMk cId="3390441715" sldId="288"/>
            <ac:spMk id="17" creationId="{7415E391-4B71-0C2D-FE27-C2B2BE56AC95}"/>
          </ac:spMkLst>
        </pc:spChg>
        <pc:picChg chg="add mod">
          <ac:chgData name="Nathan Clouse" userId="60190519-0423-46ec-ac65-f82d83ecfd9c" providerId="ADAL" clId="{88664071-EA5C-4A34-9256-B0062703447E}" dt="2025-02-09T14:42:35.303" v="168" actId="1076"/>
          <ac:picMkLst>
            <pc:docMk/>
            <pc:sldMk cId="3390441715" sldId="288"/>
            <ac:picMk id="7" creationId="{2FD263E3-AB20-37BB-3079-8ADC1527EE69}"/>
          </ac:picMkLst>
        </pc:picChg>
      </pc:sldChg>
      <pc:sldChg chg="addSp modSp add mod">
        <pc:chgData name="Nathan Clouse" userId="60190519-0423-46ec-ac65-f82d83ecfd9c" providerId="ADAL" clId="{88664071-EA5C-4A34-9256-B0062703447E}" dt="2025-02-09T14:45:18.889" v="234" actId="1036"/>
        <pc:sldMkLst>
          <pc:docMk/>
          <pc:sldMk cId="2532133805" sldId="289"/>
        </pc:sldMkLst>
        <pc:spChg chg="mod">
          <ac:chgData name="Nathan Clouse" userId="60190519-0423-46ec-ac65-f82d83ecfd9c" providerId="ADAL" clId="{88664071-EA5C-4A34-9256-B0062703447E}" dt="2025-02-09T14:45:02.940" v="222" actId="15"/>
          <ac:spMkLst>
            <pc:docMk/>
            <pc:sldMk cId="2532133805" sldId="289"/>
            <ac:spMk id="3" creationId="{AC4077D6-A86D-232F-B975-773414AE351A}"/>
          </ac:spMkLst>
        </pc:spChg>
        <pc:spChg chg="mod">
          <ac:chgData name="Nathan Clouse" userId="60190519-0423-46ec-ac65-f82d83ecfd9c" providerId="ADAL" clId="{88664071-EA5C-4A34-9256-B0062703447E}" dt="2025-02-09T14:44:48.004" v="219" actId="20577"/>
          <ac:spMkLst>
            <pc:docMk/>
            <pc:sldMk cId="2532133805" sldId="289"/>
            <ac:spMk id="17" creationId="{6CFA3AD5-959C-0632-70F7-6942CD23BA97}"/>
          </ac:spMkLst>
        </pc:spChg>
        <pc:picChg chg="add mod">
          <ac:chgData name="Nathan Clouse" userId="60190519-0423-46ec-ac65-f82d83ecfd9c" providerId="ADAL" clId="{88664071-EA5C-4A34-9256-B0062703447E}" dt="2025-02-09T14:45:18.889" v="234" actId="1036"/>
          <ac:picMkLst>
            <pc:docMk/>
            <pc:sldMk cId="2532133805" sldId="289"/>
            <ac:picMk id="5" creationId="{04F9763C-D57C-9007-952F-5218344E50A4}"/>
          </ac:picMkLst>
        </pc:picChg>
      </pc:sldChg>
      <pc:sldChg chg="modSp add mod">
        <pc:chgData name="Nathan Clouse" userId="60190519-0423-46ec-ac65-f82d83ecfd9c" providerId="ADAL" clId="{88664071-EA5C-4A34-9256-B0062703447E}" dt="2025-02-12T22:08:01.766" v="776" actId="403"/>
        <pc:sldMkLst>
          <pc:docMk/>
          <pc:sldMk cId="2039848455" sldId="290"/>
        </pc:sldMkLst>
        <pc:spChg chg="mod">
          <ac:chgData name="Nathan Clouse" userId="60190519-0423-46ec-ac65-f82d83ecfd9c" providerId="ADAL" clId="{88664071-EA5C-4A34-9256-B0062703447E}" dt="2025-02-12T22:08:01.766" v="776" actId="403"/>
          <ac:spMkLst>
            <pc:docMk/>
            <pc:sldMk cId="2039848455" sldId="290"/>
            <ac:spMk id="3" creationId="{4F334026-D326-73CD-AB32-D0A519454CBC}"/>
          </ac:spMkLst>
        </pc:spChg>
        <pc:spChg chg="mod">
          <ac:chgData name="Nathan Clouse" userId="60190519-0423-46ec-ac65-f82d83ecfd9c" providerId="ADAL" clId="{88664071-EA5C-4A34-9256-B0062703447E}" dt="2025-02-09T14:45:39.870" v="239" actId="20577"/>
          <ac:spMkLst>
            <pc:docMk/>
            <pc:sldMk cId="2039848455" sldId="290"/>
            <ac:spMk id="17" creationId="{872D97DC-9B93-5538-76B7-8AB401FA77B3}"/>
          </ac:spMkLst>
        </pc:spChg>
      </pc:sldChg>
      <pc:sldChg chg="modSp add mod">
        <pc:chgData name="Nathan Clouse" userId="60190519-0423-46ec-ac65-f82d83ecfd9c" providerId="ADAL" clId="{88664071-EA5C-4A34-9256-B0062703447E}" dt="2025-02-12T22:08:17.186" v="777" actId="403"/>
        <pc:sldMkLst>
          <pc:docMk/>
          <pc:sldMk cId="2386701212" sldId="291"/>
        </pc:sldMkLst>
        <pc:spChg chg="mod">
          <ac:chgData name="Nathan Clouse" userId="60190519-0423-46ec-ac65-f82d83ecfd9c" providerId="ADAL" clId="{88664071-EA5C-4A34-9256-B0062703447E}" dt="2025-02-12T22:08:17.186" v="777" actId="403"/>
          <ac:spMkLst>
            <pc:docMk/>
            <pc:sldMk cId="2386701212" sldId="291"/>
            <ac:spMk id="3" creationId="{3F50198B-6B03-0A1A-0381-9E26029E0792}"/>
          </ac:spMkLst>
        </pc:spChg>
        <pc:spChg chg="mod">
          <ac:chgData name="Nathan Clouse" userId="60190519-0423-46ec-ac65-f82d83ecfd9c" providerId="ADAL" clId="{88664071-EA5C-4A34-9256-B0062703447E}" dt="2025-02-09T15:12:12.169" v="254" actId="20577"/>
          <ac:spMkLst>
            <pc:docMk/>
            <pc:sldMk cId="2386701212" sldId="291"/>
            <ac:spMk id="17" creationId="{13AA9784-6F66-EEEC-873A-CA96DFF5E0C5}"/>
          </ac:spMkLst>
        </pc:spChg>
      </pc:sldChg>
      <pc:sldChg chg="modSp add mod">
        <pc:chgData name="Nathan Clouse" userId="60190519-0423-46ec-ac65-f82d83ecfd9c" providerId="ADAL" clId="{88664071-EA5C-4A34-9256-B0062703447E}" dt="2025-02-12T22:08:40.699" v="779" actId="403"/>
        <pc:sldMkLst>
          <pc:docMk/>
          <pc:sldMk cId="3072848483" sldId="292"/>
        </pc:sldMkLst>
        <pc:spChg chg="mod">
          <ac:chgData name="Nathan Clouse" userId="60190519-0423-46ec-ac65-f82d83ecfd9c" providerId="ADAL" clId="{88664071-EA5C-4A34-9256-B0062703447E}" dt="2025-02-12T22:08:40.699" v="779" actId="403"/>
          <ac:spMkLst>
            <pc:docMk/>
            <pc:sldMk cId="3072848483" sldId="292"/>
            <ac:spMk id="3" creationId="{5DD93FDE-2B05-B2A4-5F41-2C2C76061324}"/>
          </ac:spMkLst>
        </pc:spChg>
        <pc:spChg chg="mod">
          <ac:chgData name="Nathan Clouse" userId="60190519-0423-46ec-ac65-f82d83ecfd9c" providerId="ADAL" clId="{88664071-EA5C-4A34-9256-B0062703447E}" dt="2025-02-09T15:16:32.410" v="278" actId="20577"/>
          <ac:spMkLst>
            <pc:docMk/>
            <pc:sldMk cId="3072848483" sldId="292"/>
            <ac:spMk id="17" creationId="{FE9BC5F9-EC1F-B177-6C8D-7DADD483DDBE}"/>
          </ac:spMkLst>
        </pc:spChg>
      </pc:sldChg>
      <pc:sldChg chg="addSp modSp add mod">
        <pc:chgData name="Nathan Clouse" userId="60190519-0423-46ec-ac65-f82d83ecfd9c" providerId="ADAL" clId="{88664071-EA5C-4A34-9256-B0062703447E}" dt="2025-02-12T22:16:53.973" v="780" actId="403"/>
        <pc:sldMkLst>
          <pc:docMk/>
          <pc:sldMk cId="2468354739" sldId="293"/>
        </pc:sldMkLst>
        <pc:spChg chg="mod">
          <ac:chgData name="Nathan Clouse" userId="60190519-0423-46ec-ac65-f82d83ecfd9c" providerId="ADAL" clId="{88664071-EA5C-4A34-9256-B0062703447E}" dt="2025-02-12T22:16:53.973" v="780" actId="403"/>
          <ac:spMkLst>
            <pc:docMk/>
            <pc:sldMk cId="2468354739" sldId="293"/>
            <ac:spMk id="3" creationId="{37ABD10F-20AE-5F35-A206-D1BCC94157AD}"/>
          </ac:spMkLst>
        </pc:spChg>
        <pc:spChg chg="mod">
          <ac:chgData name="Nathan Clouse" userId="60190519-0423-46ec-ac65-f82d83ecfd9c" providerId="ADAL" clId="{88664071-EA5C-4A34-9256-B0062703447E}" dt="2025-02-09T15:19:28.060" v="306" actId="20577"/>
          <ac:spMkLst>
            <pc:docMk/>
            <pc:sldMk cId="2468354739" sldId="293"/>
            <ac:spMk id="17" creationId="{8196AF15-D8BD-7308-328A-1401B6B46302}"/>
          </ac:spMkLst>
        </pc:spChg>
        <pc:picChg chg="add mod">
          <ac:chgData name="Nathan Clouse" userId="60190519-0423-46ec-ac65-f82d83ecfd9c" providerId="ADAL" clId="{88664071-EA5C-4A34-9256-B0062703447E}" dt="2025-02-09T15:19:43.933" v="309" actId="1076"/>
          <ac:picMkLst>
            <pc:docMk/>
            <pc:sldMk cId="2468354739" sldId="293"/>
            <ac:picMk id="5" creationId="{BB7C6548-1A7E-08DA-FDA5-2F7937519191}"/>
          </ac:picMkLst>
        </pc:picChg>
      </pc:sldChg>
      <pc:sldChg chg="modSp add mod">
        <pc:chgData name="Nathan Clouse" userId="60190519-0423-46ec-ac65-f82d83ecfd9c" providerId="ADAL" clId="{88664071-EA5C-4A34-9256-B0062703447E}" dt="2025-02-12T22:17:15.780" v="782" actId="403"/>
        <pc:sldMkLst>
          <pc:docMk/>
          <pc:sldMk cId="2889965130" sldId="294"/>
        </pc:sldMkLst>
        <pc:spChg chg="mod">
          <ac:chgData name="Nathan Clouse" userId="60190519-0423-46ec-ac65-f82d83ecfd9c" providerId="ADAL" clId="{88664071-EA5C-4A34-9256-B0062703447E}" dt="2025-02-12T22:17:15.780" v="782" actId="403"/>
          <ac:spMkLst>
            <pc:docMk/>
            <pc:sldMk cId="2889965130" sldId="294"/>
            <ac:spMk id="3" creationId="{A89A8C51-61AE-3D87-FF73-DF48E88F0CC6}"/>
          </ac:spMkLst>
        </pc:spChg>
        <pc:spChg chg="mod">
          <ac:chgData name="Nathan Clouse" userId="60190519-0423-46ec-ac65-f82d83ecfd9c" providerId="ADAL" clId="{88664071-EA5C-4A34-9256-B0062703447E}" dt="2025-02-09T15:23:51.874" v="319"/>
          <ac:spMkLst>
            <pc:docMk/>
            <pc:sldMk cId="2889965130" sldId="294"/>
            <ac:spMk id="17" creationId="{F45E43F4-2785-A4A8-F4C6-A906DB68F794}"/>
          </ac:spMkLst>
        </pc:spChg>
      </pc:sldChg>
      <pc:sldChg chg="addSp modSp new">
        <pc:chgData name="Nathan Clouse" userId="60190519-0423-46ec-ac65-f82d83ecfd9c" providerId="ADAL" clId="{88664071-EA5C-4A34-9256-B0062703447E}" dt="2025-02-09T14:47:13.283" v="244"/>
        <pc:sldMkLst>
          <pc:docMk/>
          <pc:sldMk cId="3426649190" sldId="295"/>
        </pc:sldMkLst>
        <pc:picChg chg="add mod">
          <ac:chgData name="Nathan Clouse" userId="60190519-0423-46ec-ac65-f82d83ecfd9c" providerId="ADAL" clId="{88664071-EA5C-4A34-9256-B0062703447E}" dt="2025-02-09T14:47:13.283" v="244"/>
          <ac:picMkLst>
            <pc:docMk/>
            <pc:sldMk cId="3426649190" sldId="295"/>
            <ac:picMk id="5" creationId="{90D49045-DFC5-6AEE-E378-4AD1F4F3EECA}"/>
          </ac:picMkLst>
        </pc:picChg>
      </pc:sldChg>
      <pc:sldChg chg="addSp modSp new">
        <pc:chgData name="Nathan Clouse" userId="60190519-0423-46ec-ac65-f82d83ecfd9c" providerId="ADAL" clId="{88664071-EA5C-4A34-9256-B0062703447E}" dt="2025-02-09T14:47:07.284" v="243"/>
        <pc:sldMkLst>
          <pc:docMk/>
          <pc:sldMk cId="1092268640" sldId="296"/>
        </pc:sldMkLst>
        <pc:picChg chg="add mod">
          <ac:chgData name="Nathan Clouse" userId="60190519-0423-46ec-ac65-f82d83ecfd9c" providerId="ADAL" clId="{88664071-EA5C-4A34-9256-B0062703447E}" dt="2025-02-09T14:47:07.284" v="243"/>
          <ac:picMkLst>
            <pc:docMk/>
            <pc:sldMk cId="1092268640" sldId="296"/>
            <ac:picMk id="5" creationId="{8859F5D9-8916-C149-8801-874682E1D69F}"/>
          </ac:picMkLst>
        </pc:picChg>
      </pc:sldChg>
      <pc:sldChg chg="addSp modSp new">
        <pc:chgData name="Nathan Clouse" userId="60190519-0423-46ec-ac65-f82d83ecfd9c" providerId="ADAL" clId="{88664071-EA5C-4A34-9256-B0062703447E}" dt="2025-02-09T15:13:36.665" v="258"/>
        <pc:sldMkLst>
          <pc:docMk/>
          <pc:sldMk cId="943120011" sldId="297"/>
        </pc:sldMkLst>
        <pc:picChg chg="add mod">
          <ac:chgData name="Nathan Clouse" userId="60190519-0423-46ec-ac65-f82d83ecfd9c" providerId="ADAL" clId="{88664071-EA5C-4A34-9256-B0062703447E}" dt="2025-02-09T15:13:36.665" v="258"/>
          <ac:picMkLst>
            <pc:docMk/>
            <pc:sldMk cId="943120011" sldId="297"/>
            <ac:picMk id="5" creationId="{7F1F7374-697A-BC84-0E57-3B40DCFBD1B6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5:13:59.282" v="262" actId="1076"/>
        <pc:sldMkLst>
          <pc:docMk/>
          <pc:sldMk cId="1862876824" sldId="298"/>
        </pc:sldMkLst>
        <pc:picChg chg="add mod">
          <ac:chgData name="Nathan Clouse" userId="60190519-0423-46ec-ac65-f82d83ecfd9c" providerId="ADAL" clId="{88664071-EA5C-4A34-9256-B0062703447E}" dt="2025-02-09T15:13:59.282" v="262" actId="1076"/>
          <ac:picMkLst>
            <pc:docMk/>
            <pc:sldMk cId="1862876824" sldId="298"/>
            <ac:picMk id="5" creationId="{F026C3E2-CF96-5B8C-3624-F79AE78E0526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5:17:09.639" v="287" actId="1076"/>
        <pc:sldMkLst>
          <pc:docMk/>
          <pc:sldMk cId="955811329" sldId="299"/>
        </pc:sldMkLst>
        <pc:picChg chg="add mod">
          <ac:chgData name="Nathan Clouse" userId="60190519-0423-46ec-ac65-f82d83ecfd9c" providerId="ADAL" clId="{88664071-EA5C-4A34-9256-B0062703447E}" dt="2025-02-09T15:17:09.639" v="287" actId="1076"/>
          <ac:picMkLst>
            <pc:docMk/>
            <pc:sldMk cId="955811329" sldId="299"/>
            <ac:picMk id="5" creationId="{20854FFF-3AFD-47A4-FC98-EDA1C969F598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5:16:59.071" v="284" actId="1076"/>
        <pc:sldMkLst>
          <pc:docMk/>
          <pc:sldMk cId="3462074893" sldId="300"/>
        </pc:sldMkLst>
        <pc:picChg chg="add mod">
          <ac:chgData name="Nathan Clouse" userId="60190519-0423-46ec-ac65-f82d83ecfd9c" providerId="ADAL" clId="{88664071-EA5C-4A34-9256-B0062703447E}" dt="2025-02-09T15:16:59.071" v="284" actId="1076"/>
          <ac:picMkLst>
            <pc:docMk/>
            <pc:sldMk cId="3462074893" sldId="300"/>
            <ac:picMk id="5" creationId="{B0FFA54F-0B90-8160-E91A-CD12A02E51C2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5:17:48.131" v="294" actId="1076"/>
        <pc:sldMkLst>
          <pc:docMk/>
          <pc:sldMk cId="283392911" sldId="301"/>
        </pc:sldMkLst>
        <pc:picChg chg="add mod">
          <ac:chgData name="Nathan Clouse" userId="60190519-0423-46ec-ac65-f82d83ecfd9c" providerId="ADAL" clId="{88664071-EA5C-4A34-9256-B0062703447E}" dt="2025-02-09T15:17:48.131" v="294" actId="1076"/>
          <ac:picMkLst>
            <pc:docMk/>
            <pc:sldMk cId="283392911" sldId="301"/>
            <ac:picMk id="5" creationId="{9E9AAD4A-3EA4-505B-FA37-8F586C3AC8A2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5:17:31.647" v="292" actId="1076"/>
        <pc:sldMkLst>
          <pc:docMk/>
          <pc:sldMk cId="733188625" sldId="302"/>
        </pc:sldMkLst>
        <pc:picChg chg="add mod">
          <ac:chgData name="Nathan Clouse" userId="60190519-0423-46ec-ac65-f82d83ecfd9c" providerId="ADAL" clId="{88664071-EA5C-4A34-9256-B0062703447E}" dt="2025-02-09T15:17:31.647" v="292" actId="1076"/>
          <ac:picMkLst>
            <pc:docMk/>
            <pc:sldMk cId="733188625" sldId="302"/>
            <ac:picMk id="5" creationId="{24600E9E-3ADA-59AE-BDB4-AAD838E7DA92}"/>
          </ac:picMkLst>
        </pc:picChg>
      </pc:sldChg>
      <pc:sldChg chg="modSp add mod">
        <pc:chgData name="Nathan Clouse" userId="60190519-0423-46ec-ac65-f82d83ecfd9c" providerId="ADAL" clId="{88664071-EA5C-4A34-9256-B0062703447E}" dt="2025-02-09T15:24:45.487" v="338" actId="20577"/>
        <pc:sldMkLst>
          <pc:docMk/>
          <pc:sldMk cId="3746746465" sldId="303"/>
        </pc:sldMkLst>
        <pc:spChg chg="mod">
          <ac:chgData name="Nathan Clouse" userId="60190519-0423-46ec-ac65-f82d83ecfd9c" providerId="ADAL" clId="{88664071-EA5C-4A34-9256-B0062703447E}" dt="2025-02-09T15:24:35.701" v="324" actId="5793"/>
          <ac:spMkLst>
            <pc:docMk/>
            <pc:sldMk cId="3746746465" sldId="303"/>
            <ac:spMk id="3" creationId="{1110C0D1-E837-F099-47F3-B80F6A128969}"/>
          </ac:spMkLst>
        </pc:spChg>
        <pc:spChg chg="mod">
          <ac:chgData name="Nathan Clouse" userId="60190519-0423-46ec-ac65-f82d83ecfd9c" providerId="ADAL" clId="{88664071-EA5C-4A34-9256-B0062703447E}" dt="2025-02-09T15:24:45.487" v="338" actId="20577"/>
          <ac:spMkLst>
            <pc:docMk/>
            <pc:sldMk cId="3746746465" sldId="303"/>
            <ac:spMk id="17" creationId="{45FD539D-8710-0767-D35A-ABAC92017D88}"/>
          </ac:spMkLst>
        </pc:spChg>
      </pc:sldChg>
      <pc:sldChg chg="modSp add mod">
        <pc:chgData name="Nathan Clouse" userId="60190519-0423-46ec-ac65-f82d83ecfd9c" providerId="ADAL" clId="{88664071-EA5C-4A34-9256-B0062703447E}" dt="2025-02-12T23:11:34.734" v="783" actId="403"/>
        <pc:sldMkLst>
          <pc:docMk/>
          <pc:sldMk cId="1107824994" sldId="304"/>
        </pc:sldMkLst>
        <pc:spChg chg="mod">
          <ac:chgData name="Nathan Clouse" userId="60190519-0423-46ec-ac65-f82d83ecfd9c" providerId="ADAL" clId="{88664071-EA5C-4A34-9256-B0062703447E}" dt="2025-02-12T23:11:34.734" v="783" actId="403"/>
          <ac:spMkLst>
            <pc:docMk/>
            <pc:sldMk cId="1107824994" sldId="304"/>
            <ac:spMk id="3" creationId="{3BD92010-687E-C4B8-3F27-AE61397FCC7B}"/>
          </ac:spMkLst>
        </pc:spChg>
        <pc:spChg chg="mod">
          <ac:chgData name="Nathan Clouse" userId="60190519-0423-46ec-ac65-f82d83ecfd9c" providerId="ADAL" clId="{88664071-EA5C-4A34-9256-B0062703447E}" dt="2025-02-09T15:33:02.235" v="345" actId="20577"/>
          <ac:spMkLst>
            <pc:docMk/>
            <pc:sldMk cId="1107824994" sldId="304"/>
            <ac:spMk id="17" creationId="{8F465028-CB9F-BCEE-7005-EBB22067CE2C}"/>
          </ac:spMkLst>
        </pc:spChg>
      </pc:sldChg>
      <pc:sldChg chg="addSp modSp add mod">
        <pc:chgData name="Nathan Clouse" userId="60190519-0423-46ec-ac65-f82d83ecfd9c" providerId="ADAL" clId="{88664071-EA5C-4A34-9256-B0062703447E}" dt="2025-02-12T23:12:09.023" v="785" actId="403"/>
        <pc:sldMkLst>
          <pc:docMk/>
          <pc:sldMk cId="4507685" sldId="305"/>
        </pc:sldMkLst>
        <pc:spChg chg="mod">
          <ac:chgData name="Nathan Clouse" userId="60190519-0423-46ec-ac65-f82d83ecfd9c" providerId="ADAL" clId="{88664071-EA5C-4A34-9256-B0062703447E}" dt="2025-02-12T23:11:53.024" v="784" actId="403"/>
          <ac:spMkLst>
            <pc:docMk/>
            <pc:sldMk cId="4507685" sldId="305"/>
            <ac:spMk id="3" creationId="{B2B989E5-4384-D347-6677-C071B0ADA8D6}"/>
          </ac:spMkLst>
        </pc:spChg>
        <pc:spChg chg="add mod">
          <ac:chgData name="Nathan Clouse" userId="60190519-0423-46ec-ac65-f82d83ecfd9c" providerId="ADAL" clId="{88664071-EA5C-4A34-9256-B0062703447E}" dt="2025-02-12T23:12:09.023" v="785" actId="403"/>
          <ac:spMkLst>
            <pc:docMk/>
            <pc:sldMk cId="4507685" sldId="305"/>
            <ac:spMk id="5" creationId="{550A2650-2E35-2DED-C97B-717FE66FE897}"/>
          </ac:spMkLst>
        </pc:spChg>
        <pc:spChg chg="mod">
          <ac:chgData name="Nathan Clouse" userId="60190519-0423-46ec-ac65-f82d83ecfd9c" providerId="ADAL" clId="{88664071-EA5C-4A34-9256-B0062703447E}" dt="2025-02-09T15:36:58.793" v="385" actId="20577"/>
          <ac:spMkLst>
            <pc:docMk/>
            <pc:sldMk cId="4507685" sldId="305"/>
            <ac:spMk id="17" creationId="{CDC720F9-AD90-6945-994E-26ADA3A1A31F}"/>
          </ac:spMkLst>
        </pc:spChg>
      </pc:sldChg>
      <pc:sldChg chg="modSp add mod">
        <pc:chgData name="Nathan Clouse" userId="60190519-0423-46ec-ac65-f82d83ecfd9c" providerId="ADAL" clId="{88664071-EA5C-4A34-9256-B0062703447E}" dt="2025-02-12T23:12:15.644" v="786" actId="403"/>
        <pc:sldMkLst>
          <pc:docMk/>
          <pc:sldMk cId="799153954" sldId="306"/>
        </pc:sldMkLst>
        <pc:spChg chg="mod">
          <ac:chgData name="Nathan Clouse" userId="60190519-0423-46ec-ac65-f82d83ecfd9c" providerId="ADAL" clId="{88664071-EA5C-4A34-9256-B0062703447E}" dt="2025-02-12T23:12:15.644" v="786" actId="403"/>
          <ac:spMkLst>
            <pc:docMk/>
            <pc:sldMk cId="799153954" sldId="306"/>
            <ac:spMk id="3" creationId="{84B0481B-3179-D641-E30C-B54A3C0CE036}"/>
          </ac:spMkLst>
        </pc:spChg>
        <pc:spChg chg="mod">
          <ac:chgData name="Nathan Clouse" userId="60190519-0423-46ec-ac65-f82d83ecfd9c" providerId="ADAL" clId="{88664071-EA5C-4A34-9256-B0062703447E}" dt="2025-02-09T15:42:55.421" v="408" actId="20577"/>
          <ac:spMkLst>
            <pc:docMk/>
            <pc:sldMk cId="799153954" sldId="306"/>
            <ac:spMk id="17" creationId="{CF82621A-877A-68B5-3E62-E72AF9D7EB12}"/>
          </ac:spMkLst>
        </pc:spChg>
      </pc:sldChg>
      <pc:sldChg chg="addSp modSp new mod">
        <pc:chgData name="Nathan Clouse" userId="60190519-0423-46ec-ac65-f82d83ecfd9c" providerId="ADAL" clId="{88664071-EA5C-4A34-9256-B0062703447E}" dt="2025-02-09T15:23:04.642" v="314" actId="1076"/>
        <pc:sldMkLst>
          <pc:docMk/>
          <pc:sldMk cId="4291888780" sldId="307"/>
        </pc:sldMkLst>
        <pc:picChg chg="add mod">
          <ac:chgData name="Nathan Clouse" userId="60190519-0423-46ec-ac65-f82d83ecfd9c" providerId="ADAL" clId="{88664071-EA5C-4A34-9256-B0062703447E}" dt="2025-02-09T15:23:04.642" v="314" actId="1076"/>
          <ac:picMkLst>
            <pc:docMk/>
            <pc:sldMk cId="4291888780" sldId="307"/>
            <ac:picMk id="5" creationId="{3DC74E94-FE91-D3F8-7F72-3E9CE657912D}"/>
          </ac:picMkLst>
        </pc:picChg>
      </pc:sldChg>
      <pc:sldChg chg="addSp modSp new">
        <pc:chgData name="Nathan Clouse" userId="60190519-0423-46ec-ac65-f82d83ecfd9c" providerId="ADAL" clId="{88664071-EA5C-4A34-9256-B0062703447E}" dt="2025-02-09T15:23:21.354" v="316"/>
        <pc:sldMkLst>
          <pc:docMk/>
          <pc:sldMk cId="4154505524" sldId="308"/>
        </pc:sldMkLst>
        <pc:picChg chg="add mod">
          <ac:chgData name="Nathan Clouse" userId="60190519-0423-46ec-ac65-f82d83ecfd9c" providerId="ADAL" clId="{88664071-EA5C-4A34-9256-B0062703447E}" dt="2025-02-09T15:23:21.354" v="316"/>
          <ac:picMkLst>
            <pc:docMk/>
            <pc:sldMk cId="4154505524" sldId="308"/>
            <ac:picMk id="5" creationId="{DC4F200F-DAF9-B55D-4BC2-7FDEB4B07C81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5:28:56.076" v="342" actId="1076"/>
        <pc:sldMkLst>
          <pc:docMk/>
          <pc:sldMk cId="1395769047" sldId="309"/>
        </pc:sldMkLst>
        <pc:picChg chg="add mod">
          <ac:chgData name="Nathan Clouse" userId="60190519-0423-46ec-ac65-f82d83ecfd9c" providerId="ADAL" clId="{88664071-EA5C-4A34-9256-B0062703447E}" dt="2025-02-09T15:28:56.076" v="342" actId="1076"/>
          <ac:picMkLst>
            <pc:docMk/>
            <pc:sldMk cId="1395769047" sldId="309"/>
            <ac:picMk id="5" creationId="{C4CD4198-269C-AC0C-57DF-59C7B9568E22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5:33:34.790" v="352" actId="1076"/>
        <pc:sldMkLst>
          <pc:docMk/>
          <pc:sldMk cId="397079857" sldId="310"/>
        </pc:sldMkLst>
        <pc:picChg chg="add mod">
          <ac:chgData name="Nathan Clouse" userId="60190519-0423-46ec-ac65-f82d83ecfd9c" providerId="ADAL" clId="{88664071-EA5C-4A34-9256-B0062703447E}" dt="2025-02-09T15:33:34.790" v="352" actId="1076"/>
          <ac:picMkLst>
            <pc:docMk/>
            <pc:sldMk cId="397079857" sldId="310"/>
            <ac:picMk id="5" creationId="{D0DCFF3B-C91D-A763-438F-7A6DDA5B897B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5:34:11.838" v="360" actId="1076"/>
        <pc:sldMkLst>
          <pc:docMk/>
          <pc:sldMk cId="1768939335" sldId="311"/>
        </pc:sldMkLst>
        <pc:picChg chg="add mod">
          <ac:chgData name="Nathan Clouse" userId="60190519-0423-46ec-ac65-f82d83ecfd9c" providerId="ADAL" clId="{88664071-EA5C-4A34-9256-B0062703447E}" dt="2025-02-09T15:34:11.838" v="360" actId="1076"/>
          <ac:picMkLst>
            <pc:docMk/>
            <pc:sldMk cId="1768939335" sldId="311"/>
            <ac:picMk id="5" creationId="{BABD3689-AD0E-4432-74BC-A72E6FE1E754}"/>
          </ac:picMkLst>
        </pc:picChg>
      </pc:sldChg>
      <pc:sldChg chg="addSp modSp add mod">
        <pc:chgData name="Nathan Clouse" userId="60190519-0423-46ec-ac65-f82d83ecfd9c" providerId="ADAL" clId="{88664071-EA5C-4A34-9256-B0062703447E}" dt="2025-02-12T23:12:28.131" v="787" actId="403"/>
        <pc:sldMkLst>
          <pc:docMk/>
          <pc:sldMk cId="2789842433" sldId="312"/>
        </pc:sldMkLst>
        <pc:spChg chg="mod">
          <ac:chgData name="Nathan Clouse" userId="60190519-0423-46ec-ac65-f82d83ecfd9c" providerId="ADAL" clId="{88664071-EA5C-4A34-9256-B0062703447E}" dt="2025-02-12T23:12:28.131" v="787" actId="403"/>
          <ac:spMkLst>
            <pc:docMk/>
            <pc:sldMk cId="2789842433" sldId="312"/>
            <ac:spMk id="3" creationId="{18963E06-36D4-B456-B5B1-1254ACE26866}"/>
          </ac:spMkLst>
        </pc:spChg>
        <pc:spChg chg="mod">
          <ac:chgData name="Nathan Clouse" userId="60190519-0423-46ec-ac65-f82d83ecfd9c" providerId="ADAL" clId="{88664071-EA5C-4A34-9256-B0062703447E}" dt="2025-02-09T15:45:08.541" v="416" actId="20577"/>
          <ac:spMkLst>
            <pc:docMk/>
            <pc:sldMk cId="2789842433" sldId="312"/>
            <ac:spMk id="17" creationId="{D9D034BE-5949-2DDA-09D9-7B01F31EBBCF}"/>
          </ac:spMkLst>
        </pc:spChg>
        <pc:picChg chg="add mod">
          <ac:chgData name="Nathan Clouse" userId="60190519-0423-46ec-ac65-f82d83ecfd9c" providerId="ADAL" clId="{88664071-EA5C-4A34-9256-B0062703447E}" dt="2025-02-09T15:45:29.856" v="420" actId="1076"/>
          <ac:picMkLst>
            <pc:docMk/>
            <pc:sldMk cId="2789842433" sldId="312"/>
            <ac:picMk id="5" creationId="{AC57F51C-C615-4ED5-8083-1AA8AE8FBED1}"/>
          </ac:picMkLst>
        </pc:picChg>
      </pc:sldChg>
      <pc:sldChg chg="modSp add mod">
        <pc:chgData name="Nathan Clouse" userId="60190519-0423-46ec-ac65-f82d83ecfd9c" providerId="ADAL" clId="{88664071-EA5C-4A34-9256-B0062703447E}" dt="2025-02-09T15:48:39.667" v="432"/>
        <pc:sldMkLst>
          <pc:docMk/>
          <pc:sldMk cId="1009233548" sldId="313"/>
        </pc:sldMkLst>
        <pc:spChg chg="mod">
          <ac:chgData name="Nathan Clouse" userId="60190519-0423-46ec-ac65-f82d83ecfd9c" providerId="ADAL" clId="{88664071-EA5C-4A34-9256-B0062703447E}" dt="2025-02-09T15:48:39.667" v="432"/>
          <ac:spMkLst>
            <pc:docMk/>
            <pc:sldMk cId="1009233548" sldId="313"/>
            <ac:spMk id="3" creationId="{2B9EB87B-F54D-CB27-B43F-D9468DA769D6}"/>
          </ac:spMkLst>
        </pc:spChg>
        <pc:spChg chg="mod">
          <ac:chgData name="Nathan Clouse" userId="60190519-0423-46ec-ac65-f82d83ecfd9c" providerId="ADAL" clId="{88664071-EA5C-4A34-9256-B0062703447E}" dt="2025-02-09T15:48:25.236" v="430" actId="20577"/>
          <ac:spMkLst>
            <pc:docMk/>
            <pc:sldMk cId="1009233548" sldId="313"/>
            <ac:spMk id="17" creationId="{7AD1744D-CFBB-A32F-821E-8411EFDB9105}"/>
          </ac:spMkLst>
        </pc:spChg>
      </pc:sldChg>
      <pc:sldChg chg="modSp add mod">
        <pc:chgData name="Nathan Clouse" userId="60190519-0423-46ec-ac65-f82d83ecfd9c" providerId="ADAL" clId="{88664071-EA5C-4A34-9256-B0062703447E}" dt="2025-02-12T23:14:21.510" v="790" actId="403"/>
        <pc:sldMkLst>
          <pc:docMk/>
          <pc:sldMk cId="525178965" sldId="314"/>
        </pc:sldMkLst>
        <pc:spChg chg="mod">
          <ac:chgData name="Nathan Clouse" userId="60190519-0423-46ec-ac65-f82d83ecfd9c" providerId="ADAL" clId="{88664071-EA5C-4A34-9256-B0062703447E}" dt="2025-02-12T23:14:21.510" v="790" actId="403"/>
          <ac:spMkLst>
            <pc:docMk/>
            <pc:sldMk cId="525178965" sldId="314"/>
            <ac:spMk id="3" creationId="{099CFE02-610E-CBD1-8CAC-F32559B25242}"/>
          </ac:spMkLst>
        </pc:spChg>
        <pc:spChg chg="mod">
          <ac:chgData name="Nathan Clouse" userId="60190519-0423-46ec-ac65-f82d83ecfd9c" providerId="ADAL" clId="{88664071-EA5C-4A34-9256-B0062703447E}" dt="2025-02-09T15:52:14.794" v="483" actId="20577"/>
          <ac:spMkLst>
            <pc:docMk/>
            <pc:sldMk cId="525178965" sldId="314"/>
            <ac:spMk id="17" creationId="{F179C7A3-D1E1-AFCB-F46E-F0B37C88D699}"/>
          </ac:spMkLst>
        </pc:spChg>
      </pc:sldChg>
      <pc:sldChg chg="modSp add mod">
        <pc:chgData name="Nathan Clouse" userId="60190519-0423-46ec-ac65-f82d83ecfd9c" providerId="ADAL" clId="{88664071-EA5C-4A34-9256-B0062703447E}" dt="2025-02-12T23:13:00.379" v="789" actId="403"/>
        <pc:sldMkLst>
          <pc:docMk/>
          <pc:sldMk cId="2670810864" sldId="315"/>
        </pc:sldMkLst>
        <pc:spChg chg="mod">
          <ac:chgData name="Nathan Clouse" userId="60190519-0423-46ec-ac65-f82d83ecfd9c" providerId="ADAL" clId="{88664071-EA5C-4A34-9256-B0062703447E}" dt="2025-02-12T23:13:00.379" v="789" actId="403"/>
          <ac:spMkLst>
            <pc:docMk/>
            <pc:sldMk cId="2670810864" sldId="315"/>
            <ac:spMk id="3" creationId="{DFF44623-CC47-CCEF-8087-22E0AD239388}"/>
          </ac:spMkLst>
        </pc:spChg>
        <pc:spChg chg="mod">
          <ac:chgData name="Nathan Clouse" userId="60190519-0423-46ec-ac65-f82d83ecfd9c" providerId="ADAL" clId="{88664071-EA5C-4A34-9256-B0062703447E}" dt="2025-02-09T19:16:42.717" v="489"/>
          <ac:spMkLst>
            <pc:docMk/>
            <pc:sldMk cId="2670810864" sldId="315"/>
            <ac:spMk id="17" creationId="{3FB9E989-70E6-4109-C472-56E24D0D450B}"/>
          </ac:spMkLst>
        </pc:spChg>
      </pc:sldChg>
      <pc:sldChg chg="modSp add del mod">
        <pc:chgData name="Nathan Clouse" userId="60190519-0423-46ec-ac65-f82d83ecfd9c" providerId="ADAL" clId="{88664071-EA5C-4A34-9256-B0062703447E}" dt="2025-02-14T03:57:02.572" v="967" actId="47"/>
        <pc:sldMkLst>
          <pc:docMk/>
          <pc:sldMk cId="669646932" sldId="316"/>
        </pc:sldMkLst>
      </pc:sldChg>
      <pc:sldChg chg="addSp modSp add mod">
        <pc:chgData name="Nathan Clouse" userId="60190519-0423-46ec-ac65-f82d83ecfd9c" providerId="ADAL" clId="{88664071-EA5C-4A34-9256-B0062703447E}" dt="2025-02-12T23:15:06.492" v="802" actId="20577"/>
        <pc:sldMkLst>
          <pc:docMk/>
          <pc:sldMk cId="2835483765" sldId="317"/>
        </pc:sldMkLst>
        <pc:spChg chg="mod">
          <ac:chgData name="Nathan Clouse" userId="60190519-0423-46ec-ac65-f82d83ecfd9c" providerId="ADAL" clId="{88664071-EA5C-4A34-9256-B0062703447E}" dt="2025-02-12T23:15:06.492" v="802" actId="20577"/>
          <ac:spMkLst>
            <pc:docMk/>
            <pc:sldMk cId="2835483765" sldId="317"/>
            <ac:spMk id="3" creationId="{9AD81B70-F803-FE5F-5599-A448EA279925}"/>
          </ac:spMkLst>
        </pc:spChg>
        <pc:spChg chg="mod">
          <ac:chgData name="Nathan Clouse" userId="60190519-0423-46ec-ac65-f82d83ecfd9c" providerId="ADAL" clId="{88664071-EA5C-4A34-9256-B0062703447E}" dt="2025-02-09T19:17:49.105" v="495"/>
          <ac:spMkLst>
            <pc:docMk/>
            <pc:sldMk cId="2835483765" sldId="317"/>
            <ac:spMk id="17" creationId="{A38CF022-3A62-FA66-C492-EE1B840137CF}"/>
          </ac:spMkLst>
        </pc:spChg>
        <pc:picChg chg="add mod">
          <ac:chgData name="Nathan Clouse" userId="60190519-0423-46ec-ac65-f82d83ecfd9c" providerId="ADAL" clId="{88664071-EA5C-4A34-9256-B0062703447E}" dt="2025-02-09T19:18:10.604" v="501" actId="1076"/>
          <ac:picMkLst>
            <pc:docMk/>
            <pc:sldMk cId="2835483765" sldId="317"/>
            <ac:picMk id="5" creationId="{0B9CD5D9-1416-969C-CA80-C2678771DB02}"/>
          </ac:picMkLst>
        </pc:picChg>
      </pc:sldChg>
      <pc:sldChg chg="modSp add mod">
        <pc:chgData name="Nathan Clouse" userId="60190519-0423-46ec-ac65-f82d83ecfd9c" providerId="ADAL" clId="{88664071-EA5C-4A34-9256-B0062703447E}" dt="2025-02-12T23:15:47.752" v="803" actId="403"/>
        <pc:sldMkLst>
          <pc:docMk/>
          <pc:sldMk cId="1637487947" sldId="318"/>
        </pc:sldMkLst>
        <pc:spChg chg="mod">
          <ac:chgData name="Nathan Clouse" userId="60190519-0423-46ec-ac65-f82d83ecfd9c" providerId="ADAL" clId="{88664071-EA5C-4A34-9256-B0062703447E}" dt="2025-02-12T23:15:47.752" v="803" actId="403"/>
          <ac:spMkLst>
            <pc:docMk/>
            <pc:sldMk cId="1637487947" sldId="318"/>
            <ac:spMk id="3" creationId="{FF47280E-9D1F-968D-C86A-E8C746F60372}"/>
          </ac:spMkLst>
        </pc:spChg>
        <pc:spChg chg="mod">
          <ac:chgData name="Nathan Clouse" userId="60190519-0423-46ec-ac65-f82d83ecfd9c" providerId="ADAL" clId="{88664071-EA5C-4A34-9256-B0062703447E}" dt="2025-02-09T19:19:26.287" v="509"/>
          <ac:spMkLst>
            <pc:docMk/>
            <pc:sldMk cId="1637487947" sldId="318"/>
            <ac:spMk id="17" creationId="{B91C28EE-92D5-6705-2662-27DDA88BCB3E}"/>
          </ac:spMkLst>
        </pc:spChg>
      </pc:sldChg>
      <pc:sldChg chg="addSp modSp add mod">
        <pc:chgData name="Nathan Clouse" userId="60190519-0423-46ec-ac65-f82d83ecfd9c" providerId="ADAL" clId="{88664071-EA5C-4A34-9256-B0062703447E}" dt="2025-02-12T23:17:55.491" v="805" actId="403"/>
        <pc:sldMkLst>
          <pc:docMk/>
          <pc:sldMk cId="4225830049" sldId="319"/>
        </pc:sldMkLst>
        <pc:spChg chg="mod">
          <ac:chgData name="Nathan Clouse" userId="60190519-0423-46ec-ac65-f82d83ecfd9c" providerId="ADAL" clId="{88664071-EA5C-4A34-9256-B0062703447E}" dt="2025-02-12T23:17:55.491" v="805" actId="403"/>
          <ac:spMkLst>
            <pc:docMk/>
            <pc:sldMk cId="4225830049" sldId="319"/>
            <ac:spMk id="3" creationId="{3AC3F3F8-F577-D453-55CD-7391661192CE}"/>
          </ac:spMkLst>
        </pc:spChg>
        <pc:spChg chg="mod">
          <ac:chgData name="Nathan Clouse" userId="60190519-0423-46ec-ac65-f82d83ecfd9c" providerId="ADAL" clId="{88664071-EA5C-4A34-9256-B0062703447E}" dt="2025-02-09T19:38:05.315" v="551" actId="20577"/>
          <ac:spMkLst>
            <pc:docMk/>
            <pc:sldMk cId="4225830049" sldId="319"/>
            <ac:spMk id="17" creationId="{31A37FA4-40E6-6F15-80E6-6AB2CCE2CD86}"/>
          </ac:spMkLst>
        </pc:spChg>
        <pc:picChg chg="add mod">
          <ac:chgData name="Nathan Clouse" userId="60190519-0423-46ec-ac65-f82d83ecfd9c" providerId="ADAL" clId="{88664071-EA5C-4A34-9256-B0062703447E}" dt="2025-02-09T19:38:16.149" v="554" actId="1076"/>
          <ac:picMkLst>
            <pc:docMk/>
            <pc:sldMk cId="4225830049" sldId="319"/>
            <ac:picMk id="5" creationId="{99684538-59E4-2DAA-5673-B0EF4B6B86DD}"/>
          </ac:picMkLst>
        </pc:picChg>
      </pc:sldChg>
      <pc:sldChg chg="modSp add mod ord">
        <pc:chgData name="Nathan Clouse" userId="60190519-0423-46ec-ac65-f82d83ecfd9c" providerId="ADAL" clId="{88664071-EA5C-4A34-9256-B0062703447E}" dt="2025-02-12T23:17:50.485" v="804" actId="403"/>
        <pc:sldMkLst>
          <pc:docMk/>
          <pc:sldMk cId="219217345" sldId="320"/>
        </pc:sldMkLst>
        <pc:spChg chg="mod">
          <ac:chgData name="Nathan Clouse" userId="60190519-0423-46ec-ac65-f82d83ecfd9c" providerId="ADAL" clId="{88664071-EA5C-4A34-9256-B0062703447E}" dt="2025-02-12T23:17:50.485" v="804" actId="403"/>
          <ac:spMkLst>
            <pc:docMk/>
            <pc:sldMk cId="219217345" sldId="320"/>
            <ac:spMk id="3" creationId="{9764CB0D-A49F-D514-1238-AC67951F7256}"/>
          </ac:spMkLst>
        </pc:spChg>
        <pc:spChg chg="mod">
          <ac:chgData name="Nathan Clouse" userId="60190519-0423-46ec-ac65-f82d83ecfd9c" providerId="ADAL" clId="{88664071-EA5C-4A34-9256-B0062703447E}" dt="2025-02-09T19:32:44.610" v="530"/>
          <ac:spMkLst>
            <pc:docMk/>
            <pc:sldMk cId="219217345" sldId="320"/>
            <ac:spMk id="17" creationId="{C10640ED-7F79-CACF-B8BB-B2052692AF9F}"/>
          </ac:spMkLst>
        </pc:spChg>
      </pc:sldChg>
      <pc:sldChg chg="addSp modSp new mod">
        <pc:chgData name="Nathan Clouse" userId="60190519-0423-46ec-ac65-f82d83ecfd9c" providerId="ADAL" clId="{88664071-EA5C-4A34-9256-B0062703447E}" dt="2025-02-09T19:17:10.924" v="494" actId="1076"/>
        <pc:sldMkLst>
          <pc:docMk/>
          <pc:sldMk cId="1644432061" sldId="321"/>
        </pc:sldMkLst>
        <pc:picChg chg="add mod">
          <ac:chgData name="Nathan Clouse" userId="60190519-0423-46ec-ac65-f82d83ecfd9c" providerId="ADAL" clId="{88664071-EA5C-4A34-9256-B0062703447E}" dt="2025-02-09T19:17:10.924" v="494" actId="1076"/>
          <ac:picMkLst>
            <pc:docMk/>
            <pc:sldMk cId="1644432061" sldId="321"/>
            <ac:picMk id="5" creationId="{9307B4F1-D99B-246E-74DD-0CA855720AFF}"/>
          </ac:picMkLst>
        </pc:picChg>
      </pc:sldChg>
      <pc:sldChg chg="addSp delSp modSp new mod modNotesTx">
        <pc:chgData name="Nathan Clouse" userId="60190519-0423-46ec-ac65-f82d83ecfd9c" providerId="ADAL" clId="{88664071-EA5C-4A34-9256-B0062703447E}" dt="2025-02-09T19:19:10.454" v="508"/>
        <pc:sldMkLst>
          <pc:docMk/>
          <pc:sldMk cId="2748089572" sldId="322"/>
        </pc:sldMkLst>
        <pc:picChg chg="add mod">
          <ac:chgData name="Nathan Clouse" userId="60190519-0423-46ec-ac65-f82d83ecfd9c" providerId="ADAL" clId="{88664071-EA5C-4A34-9256-B0062703447E}" dt="2025-02-09T19:18:55.650" v="505" actId="1076"/>
          <ac:picMkLst>
            <pc:docMk/>
            <pc:sldMk cId="2748089572" sldId="322"/>
            <ac:picMk id="5" creationId="{94241DC1-8584-166D-6BE7-E1A15BABD078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9:21:33.245" v="517" actId="1076"/>
        <pc:sldMkLst>
          <pc:docMk/>
          <pc:sldMk cId="2430609865" sldId="323"/>
        </pc:sldMkLst>
        <pc:picChg chg="add mod">
          <ac:chgData name="Nathan Clouse" userId="60190519-0423-46ec-ac65-f82d83ecfd9c" providerId="ADAL" clId="{88664071-EA5C-4A34-9256-B0062703447E}" dt="2025-02-09T19:21:33.245" v="517" actId="1076"/>
          <ac:picMkLst>
            <pc:docMk/>
            <pc:sldMk cId="2430609865" sldId="323"/>
            <ac:picMk id="5" creationId="{D63C8445-A89E-EFBB-D83D-88A75D989623}"/>
          </ac:picMkLst>
        </pc:picChg>
      </pc:sldChg>
      <pc:sldChg chg="add del">
        <pc:chgData name="Nathan Clouse" userId="60190519-0423-46ec-ac65-f82d83ecfd9c" providerId="ADAL" clId="{88664071-EA5C-4A34-9256-B0062703447E}" dt="2025-02-09T15:34:02.407" v="357"/>
        <pc:sldMkLst>
          <pc:docMk/>
          <pc:sldMk cId="3659716793" sldId="1434"/>
        </pc:sldMkLst>
      </pc:sldChg>
      <pc:sldChg chg="add">
        <pc:chgData name="Nathan Clouse" userId="60190519-0423-46ec-ac65-f82d83ecfd9c" providerId="ADAL" clId="{88664071-EA5C-4A34-9256-B0062703447E}" dt="2025-02-09T21:00:40.636" v="674"/>
        <pc:sldMkLst>
          <pc:docMk/>
          <pc:sldMk cId="2458321552" sldId="1458"/>
        </pc:sldMkLst>
      </pc:sldChg>
      <pc:sldChg chg="add">
        <pc:chgData name="Nathan Clouse" userId="60190519-0423-46ec-ac65-f82d83ecfd9c" providerId="ADAL" clId="{88664071-EA5C-4A34-9256-B0062703447E}" dt="2025-02-09T21:00:40.636" v="674"/>
        <pc:sldMkLst>
          <pc:docMk/>
          <pc:sldMk cId="584843346" sldId="1459"/>
        </pc:sldMkLst>
      </pc:sldChg>
      <pc:sldChg chg="add">
        <pc:chgData name="Nathan Clouse" userId="60190519-0423-46ec-ac65-f82d83ecfd9c" providerId="ADAL" clId="{88664071-EA5C-4A34-9256-B0062703447E}" dt="2025-02-09T21:00:40.636" v="674"/>
        <pc:sldMkLst>
          <pc:docMk/>
          <pc:sldMk cId="3421450602" sldId="1460"/>
        </pc:sldMkLst>
      </pc:sldChg>
      <pc:sldChg chg="add">
        <pc:chgData name="Nathan Clouse" userId="60190519-0423-46ec-ac65-f82d83ecfd9c" providerId="ADAL" clId="{88664071-EA5C-4A34-9256-B0062703447E}" dt="2025-02-09T21:00:40.636" v="674"/>
        <pc:sldMkLst>
          <pc:docMk/>
          <pc:sldMk cId="1837287782" sldId="1461"/>
        </pc:sldMkLst>
      </pc:sldChg>
      <pc:sldChg chg="add">
        <pc:chgData name="Nathan Clouse" userId="60190519-0423-46ec-ac65-f82d83ecfd9c" providerId="ADAL" clId="{88664071-EA5C-4A34-9256-B0062703447E}" dt="2025-02-09T21:00:40.636" v="674"/>
        <pc:sldMkLst>
          <pc:docMk/>
          <pc:sldMk cId="3918944070" sldId="1463"/>
        </pc:sldMkLst>
      </pc:sldChg>
      <pc:sldChg chg="add">
        <pc:chgData name="Nathan Clouse" userId="60190519-0423-46ec-ac65-f82d83ecfd9c" providerId="ADAL" clId="{88664071-EA5C-4A34-9256-B0062703447E}" dt="2025-02-09T21:00:40.636" v="674"/>
        <pc:sldMkLst>
          <pc:docMk/>
          <pc:sldMk cId="1642946943" sldId="1464"/>
        </pc:sldMkLst>
      </pc:sldChg>
      <pc:sldChg chg="add modTransition">
        <pc:chgData name="Nathan Clouse" userId="60190519-0423-46ec-ac65-f82d83ecfd9c" providerId="ADAL" clId="{88664071-EA5C-4A34-9256-B0062703447E}" dt="2025-02-09T21:01:28.389" v="675"/>
        <pc:sldMkLst>
          <pc:docMk/>
          <pc:sldMk cId="496508667" sldId="1465"/>
        </pc:sldMkLst>
      </pc:sldChg>
      <pc:sldChg chg="add modTransition">
        <pc:chgData name="Nathan Clouse" userId="60190519-0423-46ec-ac65-f82d83ecfd9c" providerId="ADAL" clId="{88664071-EA5C-4A34-9256-B0062703447E}" dt="2025-02-09T21:01:32.312" v="676"/>
        <pc:sldMkLst>
          <pc:docMk/>
          <pc:sldMk cId="3763757675" sldId="1466"/>
        </pc:sldMkLst>
      </pc:sldChg>
      <pc:sldChg chg="add">
        <pc:chgData name="Nathan Clouse" userId="60190519-0423-46ec-ac65-f82d83ecfd9c" providerId="ADAL" clId="{88664071-EA5C-4A34-9256-B0062703447E}" dt="2025-02-09T19:21:11.758" v="512"/>
        <pc:sldMkLst>
          <pc:docMk/>
          <pc:sldMk cId="3311063571" sldId="1475"/>
        </pc:sldMkLst>
      </pc:sldChg>
      <pc:sldChg chg="addSp modSp new mod">
        <pc:chgData name="Nathan Clouse" userId="60190519-0423-46ec-ac65-f82d83ecfd9c" providerId="ADAL" clId="{88664071-EA5C-4A34-9256-B0062703447E}" dt="2025-02-09T19:21:39.940" v="519" actId="1076"/>
        <pc:sldMkLst>
          <pc:docMk/>
          <pc:sldMk cId="4038534668" sldId="1476"/>
        </pc:sldMkLst>
        <pc:picChg chg="add mod">
          <ac:chgData name="Nathan Clouse" userId="60190519-0423-46ec-ac65-f82d83ecfd9c" providerId="ADAL" clId="{88664071-EA5C-4A34-9256-B0062703447E}" dt="2025-02-09T19:21:39.940" v="519" actId="1076"/>
          <ac:picMkLst>
            <pc:docMk/>
            <pc:sldMk cId="4038534668" sldId="1476"/>
            <ac:picMk id="5" creationId="{03F5D231-94F3-AE2A-4841-B98E0BD66793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9:29:08.610" v="523" actId="1076"/>
        <pc:sldMkLst>
          <pc:docMk/>
          <pc:sldMk cId="2238289437" sldId="1477"/>
        </pc:sldMkLst>
        <pc:picChg chg="add mod">
          <ac:chgData name="Nathan Clouse" userId="60190519-0423-46ec-ac65-f82d83ecfd9c" providerId="ADAL" clId="{88664071-EA5C-4A34-9256-B0062703447E}" dt="2025-02-09T19:29:08.610" v="523" actId="1076"/>
          <ac:picMkLst>
            <pc:docMk/>
            <pc:sldMk cId="2238289437" sldId="1477"/>
            <ac:picMk id="3" creationId="{33943AE5-9AFB-A394-D524-66D384A7085B}"/>
          </ac:picMkLst>
        </pc:picChg>
      </pc:sldChg>
      <pc:sldChg chg="addSp modSp new">
        <pc:chgData name="Nathan Clouse" userId="60190519-0423-46ec-ac65-f82d83ecfd9c" providerId="ADAL" clId="{88664071-EA5C-4A34-9256-B0062703447E}" dt="2025-02-09T19:29:42.429" v="529"/>
        <pc:sldMkLst>
          <pc:docMk/>
          <pc:sldMk cId="2611498927" sldId="1478"/>
        </pc:sldMkLst>
        <pc:picChg chg="add mod">
          <ac:chgData name="Nathan Clouse" userId="60190519-0423-46ec-ac65-f82d83ecfd9c" providerId="ADAL" clId="{88664071-EA5C-4A34-9256-B0062703447E}" dt="2025-02-09T19:29:42.429" v="529"/>
          <ac:picMkLst>
            <pc:docMk/>
            <pc:sldMk cId="2611498927" sldId="1478"/>
            <ac:picMk id="3" creationId="{57CEB90D-B98E-5A6A-5FF4-EFA4DB4BEDF3}"/>
          </ac:picMkLst>
        </pc:picChg>
      </pc:sldChg>
      <pc:sldChg chg="addSp modSp new">
        <pc:chgData name="Nathan Clouse" userId="60190519-0423-46ec-ac65-f82d83ecfd9c" providerId="ADAL" clId="{88664071-EA5C-4A34-9256-B0062703447E}" dt="2025-02-09T19:29:36.341" v="528"/>
        <pc:sldMkLst>
          <pc:docMk/>
          <pc:sldMk cId="2698450791" sldId="1479"/>
        </pc:sldMkLst>
        <pc:picChg chg="add mod">
          <ac:chgData name="Nathan Clouse" userId="60190519-0423-46ec-ac65-f82d83ecfd9c" providerId="ADAL" clId="{88664071-EA5C-4A34-9256-B0062703447E}" dt="2025-02-09T19:29:36.341" v="528"/>
          <ac:picMkLst>
            <pc:docMk/>
            <pc:sldMk cId="2698450791" sldId="1479"/>
            <ac:picMk id="3" creationId="{D40EFD39-C3FA-8187-3CCA-67A496F966FE}"/>
          </ac:picMkLst>
        </pc:picChg>
      </pc:sldChg>
      <pc:sldChg chg="addSp modSp new">
        <pc:chgData name="Nathan Clouse" userId="60190519-0423-46ec-ac65-f82d83ecfd9c" providerId="ADAL" clId="{88664071-EA5C-4A34-9256-B0062703447E}" dt="2025-02-09T19:29:31.838" v="527"/>
        <pc:sldMkLst>
          <pc:docMk/>
          <pc:sldMk cId="686917914" sldId="1480"/>
        </pc:sldMkLst>
        <pc:picChg chg="add mod">
          <ac:chgData name="Nathan Clouse" userId="60190519-0423-46ec-ac65-f82d83ecfd9c" providerId="ADAL" clId="{88664071-EA5C-4A34-9256-B0062703447E}" dt="2025-02-09T19:29:31.838" v="527"/>
          <ac:picMkLst>
            <pc:docMk/>
            <pc:sldMk cId="686917914" sldId="1480"/>
            <ac:picMk id="3" creationId="{4D1A255D-4E3B-1DA7-1305-67DDC0FA2D38}"/>
          </ac:picMkLst>
        </pc:picChg>
      </pc:sldChg>
      <pc:sldChg chg="modSp add mod">
        <pc:chgData name="Nathan Clouse" userId="60190519-0423-46ec-ac65-f82d83ecfd9c" providerId="ADAL" clId="{88664071-EA5C-4A34-9256-B0062703447E}" dt="2025-02-12T23:18:03.278" v="806" actId="403"/>
        <pc:sldMkLst>
          <pc:docMk/>
          <pc:sldMk cId="3637227870" sldId="1481"/>
        </pc:sldMkLst>
        <pc:spChg chg="mod">
          <ac:chgData name="Nathan Clouse" userId="60190519-0423-46ec-ac65-f82d83ecfd9c" providerId="ADAL" clId="{88664071-EA5C-4A34-9256-B0062703447E}" dt="2025-02-12T23:18:03.278" v="806" actId="403"/>
          <ac:spMkLst>
            <pc:docMk/>
            <pc:sldMk cId="3637227870" sldId="1481"/>
            <ac:spMk id="3" creationId="{8550990A-B676-E58C-6C98-E59691E46808}"/>
          </ac:spMkLst>
        </pc:spChg>
        <pc:spChg chg="mod">
          <ac:chgData name="Nathan Clouse" userId="60190519-0423-46ec-ac65-f82d83ecfd9c" providerId="ADAL" clId="{88664071-EA5C-4A34-9256-B0062703447E}" dt="2025-02-09T19:41:07.328" v="555"/>
          <ac:spMkLst>
            <pc:docMk/>
            <pc:sldMk cId="3637227870" sldId="1481"/>
            <ac:spMk id="17" creationId="{6843D2D1-33CE-DCFF-01E1-A8BF4D543963}"/>
          </ac:spMkLst>
        </pc:spChg>
      </pc:sldChg>
      <pc:sldChg chg="modSp add mod">
        <pc:chgData name="Nathan Clouse" userId="60190519-0423-46ec-ac65-f82d83ecfd9c" providerId="ADAL" clId="{88664071-EA5C-4A34-9256-B0062703447E}" dt="2025-02-12T23:18:14.703" v="807" actId="403"/>
        <pc:sldMkLst>
          <pc:docMk/>
          <pc:sldMk cId="1638077896" sldId="1482"/>
        </pc:sldMkLst>
        <pc:spChg chg="mod">
          <ac:chgData name="Nathan Clouse" userId="60190519-0423-46ec-ac65-f82d83ecfd9c" providerId="ADAL" clId="{88664071-EA5C-4A34-9256-B0062703447E}" dt="2025-02-12T23:18:14.703" v="807" actId="403"/>
          <ac:spMkLst>
            <pc:docMk/>
            <pc:sldMk cId="1638077896" sldId="1482"/>
            <ac:spMk id="3" creationId="{FC8049DE-20E0-7198-192E-2A1D96B74486}"/>
          </ac:spMkLst>
        </pc:spChg>
        <pc:spChg chg="mod">
          <ac:chgData name="Nathan Clouse" userId="60190519-0423-46ec-ac65-f82d83ecfd9c" providerId="ADAL" clId="{88664071-EA5C-4A34-9256-B0062703447E}" dt="2025-02-09T19:48:15.495" v="589" actId="20577"/>
          <ac:spMkLst>
            <pc:docMk/>
            <pc:sldMk cId="1638077896" sldId="1482"/>
            <ac:spMk id="17" creationId="{D453D19B-EA24-8981-1447-B502A97AD1D1}"/>
          </ac:spMkLst>
        </pc:spChg>
      </pc:sldChg>
      <pc:sldChg chg="modSp add mod">
        <pc:chgData name="Nathan Clouse" userId="60190519-0423-46ec-ac65-f82d83ecfd9c" providerId="ADAL" clId="{88664071-EA5C-4A34-9256-B0062703447E}" dt="2025-02-12T23:18:25.965" v="810" actId="403"/>
        <pc:sldMkLst>
          <pc:docMk/>
          <pc:sldMk cId="276617666" sldId="1483"/>
        </pc:sldMkLst>
        <pc:spChg chg="mod">
          <ac:chgData name="Nathan Clouse" userId="60190519-0423-46ec-ac65-f82d83ecfd9c" providerId="ADAL" clId="{88664071-EA5C-4A34-9256-B0062703447E}" dt="2025-02-12T23:18:25.965" v="810" actId="403"/>
          <ac:spMkLst>
            <pc:docMk/>
            <pc:sldMk cId="276617666" sldId="1483"/>
            <ac:spMk id="3" creationId="{43FB0259-3DED-CE00-13A9-6F09E586C360}"/>
          </ac:spMkLst>
        </pc:spChg>
        <pc:spChg chg="mod">
          <ac:chgData name="Nathan Clouse" userId="60190519-0423-46ec-ac65-f82d83ecfd9c" providerId="ADAL" clId="{88664071-EA5C-4A34-9256-B0062703447E}" dt="2025-02-09T19:59:09.405" v="623" actId="20577"/>
          <ac:spMkLst>
            <pc:docMk/>
            <pc:sldMk cId="276617666" sldId="1483"/>
            <ac:spMk id="17" creationId="{3E5B1B38-3D05-BA7D-8E05-CF849DA7E3A5}"/>
          </ac:spMkLst>
        </pc:spChg>
      </pc:sldChg>
      <pc:sldChg chg="modSp add mod">
        <pc:chgData name="Nathan Clouse" userId="60190519-0423-46ec-ac65-f82d83ecfd9c" providerId="ADAL" clId="{88664071-EA5C-4A34-9256-B0062703447E}" dt="2025-02-12T23:18:32.081" v="811" actId="403"/>
        <pc:sldMkLst>
          <pc:docMk/>
          <pc:sldMk cId="1785424912" sldId="1484"/>
        </pc:sldMkLst>
        <pc:spChg chg="mod">
          <ac:chgData name="Nathan Clouse" userId="60190519-0423-46ec-ac65-f82d83ecfd9c" providerId="ADAL" clId="{88664071-EA5C-4A34-9256-B0062703447E}" dt="2025-02-12T23:18:32.081" v="811" actId="403"/>
          <ac:spMkLst>
            <pc:docMk/>
            <pc:sldMk cId="1785424912" sldId="1484"/>
            <ac:spMk id="3" creationId="{BAEDE7EE-0B90-B29B-4B2F-2B8B981A5A30}"/>
          </ac:spMkLst>
        </pc:spChg>
        <pc:spChg chg="mod">
          <ac:chgData name="Nathan Clouse" userId="60190519-0423-46ec-ac65-f82d83ecfd9c" providerId="ADAL" clId="{88664071-EA5C-4A34-9256-B0062703447E}" dt="2025-02-09T19:59:27.557" v="637" actId="20577"/>
          <ac:spMkLst>
            <pc:docMk/>
            <pc:sldMk cId="1785424912" sldId="1484"/>
            <ac:spMk id="17" creationId="{4FB709D0-4D70-C524-E541-51DD40433796}"/>
          </ac:spMkLst>
        </pc:spChg>
      </pc:sldChg>
      <pc:sldChg chg="modSp add mod">
        <pc:chgData name="Nathan Clouse" userId="60190519-0423-46ec-ac65-f82d83ecfd9c" providerId="ADAL" clId="{88664071-EA5C-4A34-9256-B0062703447E}" dt="2025-02-12T23:21:01.622" v="812" actId="403"/>
        <pc:sldMkLst>
          <pc:docMk/>
          <pc:sldMk cId="2918345377" sldId="1485"/>
        </pc:sldMkLst>
        <pc:spChg chg="mod">
          <ac:chgData name="Nathan Clouse" userId="60190519-0423-46ec-ac65-f82d83ecfd9c" providerId="ADAL" clId="{88664071-EA5C-4A34-9256-B0062703447E}" dt="2025-02-12T23:21:01.622" v="812" actId="403"/>
          <ac:spMkLst>
            <pc:docMk/>
            <pc:sldMk cId="2918345377" sldId="1485"/>
            <ac:spMk id="3" creationId="{94436426-30E0-A0A3-4904-3E81D3F94872}"/>
          </ac:spMkLst>
        </pc:spChg>
        <pc:spChg chg="mod">
          <ac:chgData name="Nathan Clouse" userId="60190519-0423-46ec-ac65-f82d83ecfd9c" providerId="ADAL" clId="{88664071-EA5C-4A34-9256-B0062703447E}" dt="2025-02-09T20:59:18.208" v="659"/>
          <ac:spMkLst>
            <pc:docMk/>
            <pc:sldMk cId="2918345377" sldId="1485"/>
            <ac:spMk id="17" creationId="{9F933870-2E0C-6363-90C7-B367F24F7BCB}"/>
          </ac:spMkLst>
        </pc:spChg>
      </pc:sldChg>
      <pc:sldChg chg="addSp modSp new">
        <pc:chgData name="Nathan Clouse" userId="60190519-0423-46ec-ac65-f82d83ecfd9c" providerId="ADAL" clId="{88664071-EA5C-4A34-9256-B0062703447E}" dt="2025-02-09T19:43:12.717" v="558"/>
        <pc:sldMkLst>
          <pc:docMk/>
          <pc:sldMk cId="2360349949" sldId="1486"/>
        </pc:sldMkLst>
        <pc:picChg chg="add mod">
          <ac:chgData name="Nathan Clouse" userId="60190519-0423-46ec-ac65-f82d83ecfd9c" providerId="ADAL" clId="{88664071-EA5C-4A34-9256-B0062703447E}" dt="2025-02-09T19:43:12.717" v="558"/>
          <ac:picMkLst>
            <pc:docMk/>
            <pc:sldMk cId="2360349949" sldId="1486"/>
            <ac:picMk id="5" creationId="{1214BB9A-C1BF-8740-CE19-30C8D4CDE026}"/>
          </ac:picMkLst>
        </pc:picChg>
      </pc:sldChg>
      <pc:sldChg chg="addSp modSp new">
        <pc:chgData name="Nathan Clouse" userId="60190519-0423-46ec-ac65-f82d83ecfd9c" providerId="ADAL" clId="{88664071-EA5C-4A34-9256-B0062703447E}" dt="2025-02-09T19:43:24.533" v="560"/>
        <pc:sldMkLst>
          <pc:docMk/>
          <pc:sldMk cId="381208411" sldId="1487"/>
        </pc:sldMkLst>
        <pc:picChg chg="add mod">
          <ac:chgData name="Nathan Clouse" userId="60190519-0423-46ec-ac65-f82d83ecfd9c" providerId="ADAL" clId="{88664071-EA5C-4A34-9256-B0062703447E}" dt="2025-02-09T19:43:24.533" v="560"/>
          <ac:picMkLst>
            <pc:docMk/>
            <pc:sldMk cId="381208411" sldId="1487"/>
            <ac:picMk id="5" creationId="{87745613-0A74-AB7B-FBFA-EE9A559EC8FC}"/>
          </ac:picMkLst>
        </pc:picChg>
      </pc:sldChg>
      <pc:sldChg chg="addSp modSp new">
        <pc:chgData name="Nathan Clouse" userId="60190519-0423-46ec-ac65-f82d83ecfd9c" providerId="ADAL" clId="{88664071-EA5C-4A34-9256-B0062703447E}" dt="2025-02-09T19:43:33.373" v="562"/>
        <pc:sldMkLst>
          <pc:docMk/>
          <pc:sldMk cId="3409747189" sldId="1488"/>
        </pc:sldMkLst>
        <pc:picChg chg="add mod">
          <ac:chgData name="Nathan Clouse" userId="60190519-0423-46ec-ac65-f82d83ecfd9c" providerId="ADAL" clId="{88664071-EA5C-4A34-9256-B0062703447E}" dt="2025-02-09T19:43:33.373" v="562"/>
          <ac:picMkLst>
            <pc:docMk/>
            <pc:sldMk cId="3409747189" sldId="1488"/>
            <ac:picMk id="5" creationId="{EFED2B43-C853-53F4-AFA3-8CA0A4D904D6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9:43:48.682" v="566" actId="1076"/>
        <pc:sldMkLst>
          <pc:docMk/>
          <pc:sldMk cId="3858232106" sldId="1489"/>
        </pc:sldMkLst>
        <pc:picChg chg="add mod">
          <ac:chgData name="Nathan Clouse" userId="60190519-0423-46ec-ac65-f82d83ecfd9c" providerId="ADAL" clId="{88664071-EA5C-4A34-9256-B0062703447E}" dt="2025-02-09T19:43:48.682" v="566" actId="1076"/>
          <ac:picMkLst>
            <pc:docMk/>
            <pc:sldMk cId="3858232106" sldId="1489"/>
            <ac:picMk id="5" creationId="{D2715E76-2982-F6DA-81FC-77526BC9F17A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9:44:19.581" v="570" actId="1076"/>
        <pc:sldMkLst>
          <pc:docMk/>
          <pc:sldMk cId="1618287230" sldId="1490"/>
        </pc:sldMkLst>
        <pc:picChg chg="add mod">
          <ac:chgData name="Nathan Clouse" userId="60190519-0423-46ec-ac65-f82d83ecfd9c" providerId="ADAL" clId="{88664071-EA5C-4A34-9256-B0062703447E}" dt="2025-02-09T19:44:19.581" v="570" actId="1076"/>
          <ac:picMkLst>
            <pc:docMk/>
            <pc:sldMk cId="1618287230" sldId="1490"/>
            <ac:picMk id="5" creationId="{087B56B8-B13F-6619-B028-DF5A4C65E6A5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19:44:37.122" v="574" actId="1076"/>
        <pc:sldMkLst>
          <pc:docMk/>
          <pc:sldMk cId="3663335360" sldId="1491"/>
        </pc:sldMkLst>
        <pc:picChg chg="add mod">
          <ac:chgData name="Nathan Clouse" userId="60190519-0423-46ec-ac65-f82d83ecfd9c" providerId="ADAL" clId="{88664071-EA5C-4A34-9256-B0062703447E}" dt="2025-02-09T19:44:37.122" v="574" actId="1076"/>
          <ac:picMkLst>
            <pc:docMk/>
            <pc:sldMk cId="3663335360" sldId="1491"/>
            <ac:picMk id="5" creationId="{DF11E824-B5C0-B2B2-0748-854524D32324}"/>
          </ac:picMkLst>
        </pc:picChg>
      </pc:sldChg>
      <pc:sldChg chg="modSp add del mod">
        <pc:chgData name="Nathan Clouse" userId="60190519-0423-46ec-ac65-f82d83ecfd9c" providerId="ADAL" clId="{88664071-EA5C-4A34-9256-B0062703447E}" dt="2025-02-14T03:57:26.087" v="969" actId="47"/>
        <pc:sldMkLst>
          <pc:docMk/>
          <pc:sldMk cId="79125941" sldId="1492"/>
        </pc:sldMkLst>
      </pc:sldChg>
      <pc:sldChg chg="add del">
        <pc:chgData name="Nathan Clouse" userId="60190519-0423-46ec-ac65-f82d83ecfd9c" providerId="ADAL" clId="{88664071-EA5C-4A34-9256-B0062703447E}" dt="2025-02-09T19:58:28.787" v="592"/>
        <pc:sldMkLst>
          <pc:docMk/>
          <pc:sldMk cId="1614152893" sldId="1492"/>
        </pc:sldMkLst>
      </pc:sldChg>
      <pc:sldChg chg="addSp modSp new mod modAnim">
        <pc:chgData name="Nathan Clouse" userId="60190519-0423-46ec-ac65-f82d83ecfd9c" providerId="ADAL" clId="{88664071-EA5C-4A34-9256-B0062703447E}" dt="2025-02-09T20:49:41.904" v="651" actId="1076"/>
        <pc:sldMkLst>
          <pc:docMk/>
          <pc:sldMk cId="726340125" sldId="1493"/>
        </pc:sldMkLst>
        <pc:spChg chg="add mod">
          <ac:chgData name="Nathan Clouse" userId="60190519-0423-46ec-ac65-f82d83ecfd9c" providerId="ADAL" clId="{88664071-EA5C-4A34-9256-B0062703447E}" dt="2025-02-09T20:49:41.904" v="651" actId="1076"/>
          <ac:spMkLst>
            <pc:docMk/>
            <pc:sldMk cId="726340125" sldId="1493"/>
            <ac:spMk id="6" creationId="{317FA24A-0C9C-E473-E89C-743EFC756F12}"/>
          </ac:spMkLst>
        </pc:spChg>
        <pc:picChg chg="add mod">
          <ac:chgData name="Nathan Clouse" userId="60190519-0423-46ec-ac65-f82d83ecfd9c" providerId="ADAL" clId="{88664071-EA5C-4A34-9256-B0062703447E}" dt="2025-02-09T20:49:37.741" v="650" actId="14100"/>
          <ac:picMkLst>
            <pc:docMk/>
            <pc:sldMk cId="726340125" sldId="1493"/>
            <ac:picMk id="5" creationId="{7AE805A8-E3D7-D702-3913-CE9978264217}"/>
          </ac:picMkLst>
        </pc:picChg>
      </pc:sldChg>
      <pc:sldChg chg="addSp delSp modSp new mod modAnim">
        <pc:chgData name="Nathan Clouse" userId="60190519-0423-46ec-ac65-f82d83ecfd9c" providerId="ADAL" clId="{88664071-EA5C-4A34-9256-B0062703447E}" dt="2025-02-09T20:49:12.593" v="648" actId="1076"/>
        <pc:sldMkLst>
          <pc:docMk/>
          <pc:sldMk cId="2813309618" sldId="1494"/>
        </pc:sldMkLst>
        <pc:spChg chg="add mod">
          <ac:chgData name="Nathan Clouse" userId="60190519-0423-46ec-ac65-f82d83ecfd9c" providerId="ADAL" clId="{88664071-EA5C-4A34-9256-B0062703447E}" dt="2025-02-09T20:49:12.593" v="648" actId="1076"/>
          <ac:spMkLst>
            <pc:docMk/>
            <pc:sldMk cId="2813309618" sldId="1494"/>
            <ac:spMk id="7" creationId="{978E3405-67C7-371C-1134-B6C56EF983B4}"/>
          </ac:spMkLst>
        </pc:spChg>
        <pc:picChg chg="add mod">
          <ac:chgData name="Nathan Clouse" userId="60190519-0423-46ec-ac65-f82d83ecfd9c" providerId="ADAL" clId="{88664071-EA5C-4A34-9256-B0062703447E}" dt="2025-02-09T20:49:12.593" v="648" actId="1076"/>
          <ac:picMkLst>
            <pc:docMk/>
            <pc:sldMk cId="2813309618" sldId="1494"/>
            <ac:picMk id="6" creationId="{B01C2DC6-236C-B5F0-22E6-FC26D66B4DAE}"/>
          </ac:picMkLst>
        </pc:picChg>
      </pc:sldChg>
      <pc:sldChg chg="addSp modSp new modAnim">
        <pc:chgData name="Nathan Clouse" userId="60190519-0423-46ec-ac65-f82d83ecfd9c" providerId="ADAL" clId="{88664071-EA5C-4A34-9256-B0062703447E}" dt="2025-02-09T20:50:01.836" v="653"/>
        <pc:sldMkLst>
          <pc:docMk/>
          <pc:sldMk cId="11499869" sldId="1495"/>
        </pc:sldMkLst>
        <pc:spChg chg="add mod">
          <ac:chgData name="Nathan Clouse" userId="60190519-0423-46ec-ac65-f82d83ecfd9c" providerId="ADAL" clId="{88664071-EA5C-4A34-9256-B0062703447E}" dt="2025-02-09T20:50:01.836" v="653"/>
          <ac:spMkLst>
            <pc:docMk/>
            <pc:sldMk cId="11499869" sldId="1495"/>
            <ac:spMk id="6" creationId="{631FC1C1-D4C0-A854-7375-B99ED0C3E23E}"/>
          </ac:spMkLst>
        </pc:spChg>
        <pc:spChg chg="add mod">
          <ac:chgData name="Nathan Clouse" userId="60190519-0423-46ec-ac65-f82d83ecfd9c" providerId="ADAL" clId="{88664071-EA5C-4A34-9256-B0062703447E}" dt="2025-02-09T20:50:01.836" v="653"/>
          <ac:spMkLst>
            <pc:docMk/>
            <pc:sldMk cId="11499869" sldId="1495"/>
            <ac:spMk id="7" creationId="{F427A853-4327-195A-BE9B-229227B92476}"/>
          </ac:spMkLst>
        </pc:spChg>
        <pc:picChg chg="add mod">
          <ac:chgData name="Nathan Clouse" userId="60190519-0423-46ec-ac65-f82d83ecfd9c" providerId="ADAL" clId="{88664071-EA5C-4A34-9256-B0062703447E}" dt="2025-02-09T20:50:01.836" v="653"/>
          <ac:picMkLst>
            <pc:docMk/>
            <pc:sldMk cId="11499869" sldId="1495"/>
            <ac:picMk id="5" creationId="{4CFBA2A6-45FF-1E2F-1250-50C6F847DC4A}"/>
          </ac:picMkLst>
        </pc:picChg>
      </pc:sldChg>
      <pc:sldChg chg="modSp add mod">
        <pc:chgData name="Nathan Clouse" userId="60190519-0423-46ec-ac65-f82d83ecfd9c" providerId="ADAL" clId="{88664071-EA5C-4A34-9256-B0062703447E}" dt="2025-02-12T23:28:39.330" v="818" actId="403"/>
        <pc:sldMkLst>
          <pc:docMk/>
          <pc:sldMk cId="3305255841" sldId="1496"/>
        </pc:sldMkLst>
        <pc:spChg chg="mod">
          <ac:chgData name="Nathan Clouse" userId="60190519-0423-46ec-ac65-f82d83ecfd9c" providerId="ADAL" clId="{88664071-EA5C-4A34-9256-B0062703447E}" dt="2025-02-12T23:28:39.330" v="818" actId="403"/>
          <ac:spMkLst>
            <pc:docMk/>
            <pc:sldMk cId="3305255841" sldId="1496"/>
            <ac:spMk id="3" creationId="{6C5F4444-24AB-CC8D-2FE5-7F9CF4FF1C03}"/>
          </ac:spMkLst>
        </pc:spChg>
        <pc:spChg chg="mod">
          <ac:chgData name="Nathan Clouse" userId="60190519-0423-46ec-ac65-f82d83ecfd9c" providerId="ADAL" clId="{88664071-EA5C-4A34-9256-B0062703447E}" dt="2025-02-09T21:02:21.513" v="677"/>
          <ac:spMkLst>
            <pc:docMk/>
            <pc:sldMk cId="3305255841" sldId="1496"/>
            <ac:spMk id="17" creationId="{26537809-CE76-0002-7149-9794FF336AEC}"/>
          </ac:spMkLst>
        </pc:spChg>
      </pc:sldChg>
      <pc:sldChg chg="modSp add mod ord">
        <pc:chgData name="Nathan Clouse" userId="60190519-0423-46ec-ac65-f82d83ecfd9c" providerId="ADAL" clId="{88664071-EA5C-4A34-9256-B0062703447E}" dt="2025-02-12T23:22:51.658" v="815" actId="403"/>
        <pc:sldMkLst>
          <pc:docMk/>
          <pc:sldMk cId="2126141737" sldId="1497"/>
        </pc:sldMkLst>
        <pc:spChg chg="mod">
          <ac:chgData name="Nathan Clouse" userId="60190519-0423-46ec-ac65-f82d83ecfd9c" providerId="ADAL" clId="{88664071-EA5C-4A34-9256-B0062703447E}" dt="2025-02-12T23:22:51.658" v="815" actId="403"/>
          <ac:spMkLst>
            <pc:docMk/>
            <pc:sldMk cId="2126141737" sldId="1497"/>
            <ac:spMk id="3" creationId="{89B86D61-BD19-5ED3-13DC-25A8CF2B8940}"/>
          </ac:spMkLst>
        </pc:spChg>
        <pc:spChg chg="mod">
          <ac:chgData name="Nathan Clouse" userId="60190519-0423-46ec-ac65-f82d83ecfd9c" providerId="ADAL" clId="{88664071-EA5C-4A34-9256-B0062703447E}" dt="2025-02-09T21:00:10.223" v="670"/>
          <ac:spMkLst>
            <pc:docMk/>
            <pc:sldMk cId="2126141737" sldId="1497"/>
            <ac:spMk id="17" creationId="{2FD231B0-5F8E-AA9C-BB69-19060FB33114}"/>
          </ac:spMkLst>
        </pc:spChg>
      </pc:sldChg>
      <pc:sldChg chg="addSp delSp modSp add mod">
        <pc:chgData name="Nathan Clouse" userId="60190519-0423-46ec-ac65-f82d83ecfd9c" providerId="ADAL" clId="{88664071-EA5C-4A34-9256-B0062703447E}" dt="2025-02-09T21:10:29.035" v="698"/>
        <pc:sldMkLst>
          <pc:docMk/>
          <pc:sldMk cId="3539391265" sldId="1498"/>
        </pc:sldMkLst>
        <pc:spChg chg="add mod">
          <ac:chgData name="Nathan Clouse" userId="60190519-0423-46ec-ac65-f82d83ecfd9c" providerId="ADAL" clId="{88664071-EA5C-4A34-9256-B0062703447E}" dt="2025-02-09T21:02:43.470" v="680" actId="1076"/>
          <ac:spMkLst>
            <pc:docMk/>
            <pc:sldMk cId="3539391265" sldId="1498"/>
            <ac:spMk id="5" creationId="{9C2AF3B5-1A06-53A9-072A-E90CA251F82F}"/>
          </ac:spMkLst>
        </pc:spChg>
        <pc:spChg chg="add mod">
          <ac:chgData name="Nathan Clouse" userId="60190519-0423-46ec-ac65-f82d83ecfd9c" providerId="ADAL" clId="{88664071-EA5C-4A34-9256-B0062703447E}" dt="2025-02-09T21:03:00.393" v="682" actId="20577"/>
          <ac:spMkLst>
            <pc:docMk/>
            <pc:sldMk cId="3539391265" sldId="1498"/>
            <ac:spMk id="6" creationId="{4692F6A9-0F1C-C652-F47E-F175F91F5794}"/>
          </ac:spMkLst>
        </pc:spChg>
        <pc:spChg chg="add mod">
          <ac:chgData name="Nathan Clouse" userId="60190519-0423-46ec-ac65-f82d83ecfd9c" providerId="ADAL" clId="{88664071-EA5C-4A34-9256-B0062703447E}" dt="2025-02-09T21:03:41.035" v="690" actId="15"/>
          <ac:spMkLst>
            <pc:docMk/>
            <pc:sldMk cId="3539391265" sldId="1498"/>
            <ac:spMk id="11" creationId="{89088114-A6B3-C9A7-D152-4AA4923B49A5}"/>
          </ac:spMkLst>
        </pc:spChg>
        <pc:spChg chg="mod">
          <ac:chgData name="Nathan Clouse" userId="60190519-0423-46ec-ac65-f82d83ecfd9c" providerId="ADAL" clId="{88664071-EA5C-4A34-9256-B0062703447E}" dt="2025-02-09T21:10:29.035" v="698"/>
          <ac:spMkLst>
            <pc:docMk/>
            <pc:sldMk cId="3539391265" sldId="1498"/>
            <ac:spMk id="17" creationId="{F600C8E8-569D-F5C6-F412-8549C536DD52}"/>
          </ac:spMkLst>
        </pc:spChg>
      </pc:sldChg>
      <pc:sldChg chg="modSp add mod">
        <pc:chgData name="Nathan Clouse" userId="60190519-0423-46ec-ac65-f82d83ecfd9c" providerId="ADAL" clId="{88664071-EA5C-4A34-9256-B0062703447E}" dt="2025-02-09T21:10:44.480" v="702"/>
        <pc:sldMkLst>
          <pc:docMk/>
          <pc:sldMk cId="1128356416" sldId="1499"/>
        </pc:sldMkLst>
        <pc:spChg chg="mod">
          <ac:chgData name="Nathan Clouse" userId="60190519-0423-46ec-ac65-f82d83ecfd9c" providerId="ADAL" clId="{88664071-EA5C-4A34-9256-B0062703447E}" dt="2025-02-09T21:10:44.480" v="702"/>
          <ac:spMkLst>
            <pc:docMk/>
            <pc:sldMk cId="1128356416" sldId="1499"/>
            <ac:spMk id="3" creationId="{5B0B444E-4805-CBAB-BDD8-DAB0A47B478E}"/>
          </ac:spMkLst>
        </pc:spChg>
        <pc:spChg chg="mod">
          <ac:chgData name="Nathan Clouse" userId="60190519-0423-46ec-ac65-f82d83ecfd9c" providerId="ADAL" clId="{88664071-EA5C-4A34-9256-B0062703447E}" dt="2025-02-09T21:10:34.065" v="701" actId="404"/>
          <ac:spMkLst>
            <pc:docMk/>
            <pc:sldMk cId="1128356416" sldId="1499"/>
            <ac:spMk id="17" creationId="{F03616C2-14F0-70AA-6E1B-37E559AC8050}"/>
          </ac:spMkLst>
        </pc:spChg>
      </pc:sldChg>
      <pc:sldChg chg="add del">
        <pc:chgData name="Nathan Clouse" userId="60190519-0423-46ec-ac65-f82d83ecfd9c" providerId="ADAL" clId="{88664071-EA5C-4A34-9256-B0062703447E}" dt="2025-02-09T21:20:19.106" v="759" actId="47"/>
        <pc:sldMkLst>
          <pc:docMk/>
          <pc:sldMk cId="1903458008" sldId="1500"/>
        </pc:sldMkLst>
      </pc:sldChg>
      <pc:sldChg chg="addSp modSp new mod">
        <pc:chgData name="Nathan Clouse" userId="60190519-0423-46ec-ac65-f82d83ecfd9c" providerId="ADAL" clId="{88664071-EA5C-4A34-9256-B0062703447E}" dt="2025-02-09T20:59:39.509" v="665" actId="1076"/>
        <pc:sldMkLst>
          <pc:docMk/>
          <pc:sldMk cId="663644523" sldId="1501"/>
        </pc:sldMkLst>
        <pc:picChg chg="add mod">
          <ac:chgData name="Nathan Clouse" userId="60190519-0423-46ec-ac65-f82d83ecfd9c" providerId="ADAL" clId="{88664071-EA5C-4A34-9256-B0062703447E}" dt="2025-02-09T20:59:39.509" v="665" actId="1076"/>
          <ac:picMkLst>
            <pc:docMk/>
            <pc:sldMk cId="663644523" sldId="1501"/>
            <ac:picMk id="5" creationId="{F05F90DC-69BE-EA9C-4C88-A70BE7DC1730}"/>
          </ac:picMkLst>
        </pc:picChg>
      </pc:sldChg>
      <pc:sldChg chg="addSp modSp new mod">
        <pc:chgData name="Nathan Clouse" userId="60190519-0423-46ec-ac65-f82d83ecfd9c" providerId="ADAL" clId="{88664071-EA5C-4A34-9256-B0062703447E}" dt="2025-02-09T20:59:57.336" v="669" actId="1076"/>
        <pc:sldMkLst>
          <pc:docMk/>
          <pc:sldMk cId="4084747747" sldId="1502"/>
        </pc:sldMkLst>
        <pc:picChg chg="add mod">
          <ac:chgData name="Nathan Clouse" userId="60190519-0423-46ec-ac65-f82d83ecfd9c" providerId="ADAL" clId="{88664071-EA5C-4A34-9256-B0062703447E}" dt="2025-02-09T20:59:57.336" v="669" actId="1076"/>
          <ac:picMkLst>
            <pc:docMk/>
            <pc:sldMk cId="4084747747" sldId="1502"/>
            <ac:picMk id="5" creationId="{55EA4260-4800-2A75-7457-88C08BAF7A68}"/>
          </ac:picMkLst>
        </pc:picChg>
      </pc:sldChg>
      <pc:sldChg chg="modSp add mod">
        <pc:chgData name="Nathan Clouse" userId="60190519-0423-46ec-ac65-f82d83ecfd9c" providerId="ADAL" clId="{88664071-EA5C-4A34-9256-B0062703447E}" dt="2025-02-09T21:04:22.165" v="696" actId="15"/>
        <pc:sldMkLst>
          <pc:docMk/>
          <pc:sldMk cId="1932056322" sldId="1503"/>
        </pc:sldMkLst>
        <pc:spChg chg="mod">
          <ac:chgData name="Nathan Clouse" userId="60190519-0423-46ec-ac65-f82d83ecfd9c" providerId="ADAL" clId="{88664071-EA5C-4A34-9256-B0062703447E}" dt="2025-02-09T21:04:22.165" v="696" actId="15"/>
          <ac:spMkLst>
            <pc:docMk/>
            <pc:sldMk cId="1932056322" sldId="1503"/>
            <ac:spMk id="5" creationId="{E499F19B-8899-3341-E108-575969ED44B5}"/>
          </ac:spMkLst>
        </pc:spChg>
        <pc:spChg chg="mod">
          <ac:chgData name="Nathan Clouse" userId="60190519-0423-46ec-ac65-f82d83ecfd9c" providerId="ADAL" clId="{88664071-EA5C-4A34-9256-B0062703447E}" dt="2025-02-09T21:04:20.277" v="695" actId="15"/>
          <ac:spMkLst>
            <pc:docMk/>
            <pc:sldMk cId="1932056322" sldId="1503"/>
            <ac:spMk id="11" creationId="{4145869F-DECC-690F-CA9F-1889959849D0}"/>
          </ac:spMkLst>
        </pc:spChg>
        <pc:spChg chg="mod">
          <ac:chgData name="Nathan Clouse" userId="60190519-0423-46ec-ac65-f82d83ecfd9c" providerId="ADAL" clId="{88664071-EA5C-4A34-9256-B0062703447E}" dt="2025-02-09T21:03:59.137" v="692"/>
          <ac:spMkLst>
            <pc:docMk/>
            <pc:sldMk cId="1932056322" sldId="1503"/>
            <ac:spMk id="17" creationId="{5D9E69F2-EAA6-CC81-4A4B-73F50C922F9B}"/>
          </ac:spMkLst>
        </pc:spChg>
      </pc:sldChg>
      <pc:sldChg chg="addSp modSp new mod modAnim">
        <pc:chgData name="Nathan Clouse" userId="60190519-0423-46ec-ac65-f82d83ecfd9c" providerId="ADAL" clId="{88664071-EA5C-4A34-9256-B0062703447E}" dt="2025-02-09T21:11:14.338" v="707" actId="1076"/>
        <pc:sldMkLst>
          <pc:docMk/>
          <pc:sldMk cId="1445263055" sldId="1504"/>
        </pc:sldMkLst>
        <pc:spChg chg="add mod">
          <ac:chgData name="Nathan Clouse" userId="60190519-0423-46ec-ac65-f82d83ecfd9c" providerId="ADAL" clId="{88664071-EA5C-4A34-9256-B0062703447E}" dt="2025-02-09T21:11:14.338" v="707" actId="1076"/>
          <ac:spMkLst>
            <pc:docMk/>
            <pc:sldMk cId="1445263055" sldId="1504"/>
            <ac:spMk id="6" creationId="{3ED03CEA-D9B1-9FAB-70A8-8C109A9E6DD8}"/>
          </ac:spMkLst>
        </pc:spChg>
        <pc:picChg chg="add mod">
          <ac:chgData name="Nathan Clouse" userId="60190519-0423-46ec-ac65-f82d83ecfd9c" providerId="ADAL" clId="{88664071-EA5C-4A34-9256-B0062703447E}" dt="2025-02-09T21:11:07.293" v="706" actId="1076"/>
          <ac:picMkLst>
            <pc:docMk/>
            <pc:sldMk cId="1445263055" sldId="1504"/>
            <ac:picMk id="5" creationId="{1162E052-7046-D926-85E7-7CA50D79CA8D}"/>
          </ac:picMkLst>
        </pc:picChg>
      </pc:sldChg>
      <pc:sldChg chg="modSp add mod">
        <pc:chgData name="Nathan Clouse" userId="60190519-0423-46ec-ac65-f82d83ecfd9c" providerId="ADAL" clId="{88664071-EA5C-4A34-9256-B0062703447E}" dt="2025-02-12T23:43:03.676" v="959" actId="403"/>
        <pc:sldMkLst>
          <pc:docMk/>
          <pc:sldMk cId="2635224900" sldId="1505"/>
        </pc:sldMkLst>
        <pc:spChg chg="mod">
          <ac:chgData name="Nathan Clouse" userId="60190519-0423-46ec-ac65-f82d83ecfd9c" providerId="ADAL" clId="{88664071-EA5C-4A34-9256-B0062703447E}" dt="2025-02-09T21:12:07.400" v="723" actId="20577"/>
          <ac:spMkLst>
            <pc:docMk/>
            <pc:sldMk cId="2635224900" sldId="1505"/>
            <ac:spMk id="2" creationId="{E1017650-44AD-89DA-80B0-F823A9BDD9B8}"/>
          </ac:spMkLst>
        </pc:spChg>
        <pc:spChg chg="mod">
          <ac:chgData name="Nathan Clouse" userId="60190519-0423-46ec-ac65-f82d83ecfd9c" providerId="ADAL" clId="{88664071-EA5C-4A34-9256-B0062703447E}" dt="2025-02-09T21:12:16.920" v="724" actId="6549"/>
          <ac:spMkLst>
            <pc:docMk/>
            <pc:sldMk cId="2635224900" sldId="1505"/>
            <ac:spMk id="43" creationId="{DB7A6EE3-162D-2249-8CC6-BD1A77E5AC59}"/>
          </ac:spMkLst>
        </pc:spChg>
        <pc:spChg chg="mod">
          <ac:chgData name="Nathan Clouse" userId="60190519-0423-46ec-ac65-f82d83ecfd9c" providerId="ADAL" clId="{88664071-EA5C-4A34-9256-B0062703447E}" dt="2025-02-09T21:12:20.242" v="725" actId="6549"/>
          <ac:spMkLst>
            <pc:docMk/>
            <pc:sldMk cId="2635224900" sldId="1505"/>
            <ac:spMk id="44" creationId="{C3CF1FB0-487B-6500-7ECB-E4FAF4145843}"/>
          </ac:spMkLst>
        </pc:spChg>
        <pc:spChg chg="mod">
          <ac:chgData name="Nathan Clouse" userId="60190519-0423-46ec-ac65-f82d83ecfd9c" providerId="ADAL" clId="{88664071-EA5C-4A34-9256-B0062703447E}" dt="2025-02-09T21:12:22.657" v="726" actId="6549"/>
          <ac:spMkLst>
            <pc:docMk/>
            <pc:sldMk cId="2635224900" sldId="1505"/>
            <ac:spMk id="45" creationId="{AA700D3A-337A-7F16-A6DD-AF7D237F0486}"/>
          </ac:spMkLst>
        </pc:spChg>
        <pc:spChg chg="mod">
          <ac:chgData name="Nathan Clouse" userId="60190519-0423-46ec-ac65-f82d83ecfd9c" providerId="ADAL" clId="{88664071-EA5C-4A34-9256-B0062703447E}" dt="2025-02-09T21:12:25.432" v="727" actId="20577"/>
          <ac:spMkLst>
            <pc:docMk/>
            <pc:sldMk cId="2635224900" sldId="1505"/>
            <ac:spMk id="46" creationId="{04452FC4-1C31-3397-2F47-489A9BA88523}"/>
          </ac:spMkLst>
        </pc:spChg>
        <pc:spChg chg="mod">
          <ac:chgData name="Nathan Clouse" userId="60190519-0423-46ec-ac65-f82d83ecfd9c" providerId="ADAL" clId="{88664071-EA5C-4A34-9256-B0062703447E}" dt="2025-02-12T23:42:48.164" v="954" actId="404"/>
          <ac:spMkLst>
            <pc:docMk/>
            <pc:sldMk cId="2635224900" sldId="1505"/>
            <ac:spMk id="47" creationId="{7C159754-CF3D-50CC-B412-8921B8B330DB}"/>
          </ac:spMkLst>
        </pc:spChg>
        <pc:spChg chg="mod">
          <ac:chgData name="Nathan Clouse" userId="60190519-0423-46ec-ac65-f82d83ecfd9c" providerId="ADAL" clId="{88664071-EA5C-4A34-9256-B0062703447E}" dt="2025-02-12T23:42:55.054" v="956" actId="403"/>
          <ac:spMkLst>
            <pc:docMk/>
            <pc:sldMk cId="2635224900" sldId="1505"/>
            <ac:spMk id="48" creationId="{AD94FF6D-278E-DD05-90C1-FD09173FAFF7}"/>
          </ac:spMkLst>
        </pc:spChg>
        <pc:spChg chg="mod">
          <ac:chgData name="Nathan Clouse" userId="60190519-0423-46ec-ac65-f82d83ecfd9c" providerId="ADAL" clId="{88664071-EA5C-4A34-9256-B0062703447E}" dt="2025-02-12T23:42:59.756" v="958" actId="403"/>
          <ac:spMkLst>
            <pc:docMk/>
            <pc:sldMk cId="2635224900" sldId="1505"/>
            <ac:spMk id="49" creationId="{A1D9EE8E-D61E-019A-0966-EDD62B534C77}"/>
          </ac:spMkLst>
        </pc:spChg>
        <pc:spChg chg="mod">
          <ac:chgData name="Nathan Clouse" userId="60190519-0423-46ec-ac65-f82d83ecfd9c" providerId="ADAL" clId="{88664071-EA5C-4A34-9256-B0062703447E}" dt="2025-02-12T23:43:03.676" v="959" actId="403"/>
          <ac:spMkLst>
            <pc:docMk/>
            <pc:sldMk cId="2635224900" sldId="1505"/>
            <ac:spMk id="50" creationId="{FFADF552-6D14-8E2C-F6CE-55FF9778B6BD}"/>
          </ac:spMkLst>
        </pc:spChg>
        <pc:spChg chg="mod">
          <ac:chgData name="Nathan Clouse" userId="60190519-0423-46ec-ac65-f82d83ecfd9c" providerId="ADAL" clId="{88664071-EA5C-4A34-9256-B0062703447E}" dt="2025-02-09T21:14:05.978" v="729" actId="20577"/>
          <ac:spMkLst>
            <pc:docMk/>
            <pc:sldMk cId="2635224900" sldId="1505"/>
            <ac:spMk id="51" creationId="{9578F55C-DAF8-9C6C-BB9E-AB6278886E00}"/>
          </ac:spMkLst>
        </pc:spChg>
        <pc:spChg chg="mod">
          <ac:chgData name="Nathan Clouse" userId="60190519-0423-46ec-ac65-f82d83ecfd9c" providerId="ADAL" clId="{88664071-EA5C-4A34-9256-B0062703447E}" dt="2025-02-12T23:42:28.187" v="948" actId="20577"/>
          <ac:spMkLst>
            <pc:docMk/>
            <pc:sldMk cId="2635224900" sldId="1505"/>
            <ac:spMk id="52" creationId="{B384C422-7570-60C4-3BB9-0C689DB919FF}"/>
          </ac:spMkLst>
        </pc:spChg>
        <pc:spChg chg="mod">
          <ac:chgData name="Nathan Clouse" userId="60190519-0423-46ec-ac65-f82d83ecfd9c" providerId="ADAL" clId="{88664071-EA5C-4A34-9256-B0062703447E}" dt="2025-02-12T23:42:32.179" v="949" actId="20577"/>
          <ac:spMkLst>
            <pc:docMk/>
            <pc:sldMk cId="2635224900" sldId="1505"/>
            <ac:spMk id="53" creationId="{92675ACE-C4DB-7920-0F73-E79D69E73079}"/>
          </ac:spMkLst>
        </pc:spChg>
        <pc:spChg chg="mod">
          <ac:chgData name="Nathan Clouse" userId="60190519-0423-46ec-ac65-f82d83ecfd9c" providerId="ADAL" clId="{88664071-EA5C-4A34-9256-B0062703447E}" dt="2025-02-12T23:42:34.843" v="950" actId="20577"/>
          <ac:spMkLst>
            <pc:docMk/>
            <pc:sldMk cId="2635224900" sldId="1505"/>
            <ac:spMk id="54" creationId="{9E9990E5-943F-9496-9B0A-7648228EAA38}"/>
          </ac:spMkLst>
        </pc:spChg>
      </pc:sldChg>
      <pc:sldChg chg="modSp add mod">
        <pc:chgData name="Nathan Clouse" userId="60190519-0423-46ec-ac65-f82d83ecfd9c" providerId="ADAL" clId="{88664071-EA5C-4A34-9256-B0062703447E}" dt="2025-02-12T23:43:27.676" v="963" actId="403"/>
        <pc:sldMkLst>
          <pc:docMk/>
          <pc:sldMk cId="2135038307" sldId="1506"/>
        </pc:sldMkLst>
        <pc:spChg chg="mod">
          <ac:chgData name="Nathan Clouse" userId="60190519-0423-46ec-ac65-f82d83ecfd9c" providerId="ADAL" clId="{88664071-EA5C-4A34-9256-B0062703447E}" dt="2025-02-12T23:43:12.650" v="960" actId="403"/>
          <ac:spMkLst>
            <pc:docMk/>
            <pc:sldMk cId="2135038307" sldId="1506"/>
            <ac:spMk id="47" creationId="{504499A1-E7DB-75EB-6B02-F5AFEA35A77E}"/>
          </ac:spMkLst>
        </pc:spChg>
        <pc:spChg chg="mod">
          <ac:chgData name="Nathan Clouse" userId="60190519-0423-46ec-ac65-f82d83ecfd9c" providerId="ADAL" clId="{88664071-EA5C-4A34-9256-B0062703447E}" dt="2025-02-12T23:43:17.187" v="961" actId="403"/>
          <ac:spMkLst>
            <pc:docMk/>
            <pc:sldMk cId="2135038307" sldId="1506"/>
            <ac:spMk id="48" creationId="{7DDA2982-3973-8F35-F237-E731BB4D9859}"/>
          </ac:spMkLst>
        </pc:spChg>
        <pc:spChg chg="mod">
          <ac:chgData name="Nathan Clouse" userId="60190519-0423-46ec-ac65-f82d83ecfd9c" providerId="ADAL" clId="{88664071-EA5C-4A34-9256-B0062703447E}" dt="2025-02-12T23:43:23.416" v="962" actId="403"/>
          <ac:spMkLst>
            <pc:docMk/>
            <pc:sldMk cId="2135038307" sldId="1506"/>
            <ac:spMk id="49" creationId="{C7A3E6B2-71EF-4E66-44C7-62FBC2494826}"/>
          </ac:spMkLst>
        </pc:spChg>
        <pc:spChg chg="mod">
          <ac:chgData name="Nathan Clouse" userId="60190519-0423-46ec-ac65-f82d83ecfd9c" providerId="ADAL" clId="{88664071-EA5C-4A34-9256-B0062703447E}" dt="2025-02-12T23:43:27.676" v="963" actId="403"/>
          <ac:spMkLst>
            <pc:docMk/>
            <pc:sldMk cId="2135038307" sldId="1506"/>
            <ac:spMk id="50" creationId="{611EFC64-0F5B-6FB6-D406-6FA58D0B2234}"/>
          </ac:spMkLst>
        </pc:spChg>
        <pc:spChg chg="mod">
          <ac:chgData name="Nathan Clouse" userId="60190519-0423-46ec-ac65-f82d83ecfd9c" providerId="ADAL" clId="{88664071-EA5C-4A34-9256-B0062703447E}" dt="2025-02-09T21:15:29.996" v="739" actId="6549"/>
          <ac:spMkLst>
            <pc:docMk/>
            <pc:sldMk cId="2135038307" sldId="1506"/>
            <ac:spMk id="52" creationId="{022AAB5B-A23F-0DD2-AFB6-BC38C985E415}"/>
          </ac:spMkLst>
        </pc:spChg>
        <pc:spChg chg="mod">
          <ac:chgData name="Nathan Clouse" userId="60190519-0423-46ec-ac65-f82d83ecfd9c" providerId="ADAL" clId="{88664071-EA5C-4A34-9256-B0062703447E}" dt="2025-02-09T21:15:32.595" v="740" actId="6549"/>
          <ac:spMkLst>
            <pc:docMk/>
            <pc:sldMk cId="2135038307" sldId="1506"/>
            <ac:spMk id="53" creationId="{6DF7EC31-F60C-EEC9-C252-CAA0192F51E8}"/>
          </ac:spMkLst>
        </pc:spChg>
        <pc:spChg chg="mod">
          <ac:chgData name="Nathan Clouse" userId="60190519-0423-46ec-ac65-f82d83ecfd9c" providerId="ADAL" clId="{88664071-EA5C-4A34-9256-B0062703447E}" dt="2025-02-09T21:15:35.155" v="741" actId="6549"/>
          <ac:spMkLst>
            <pc:docMk/>
            <pc:sldMk cId="2135038307" sldId="1506"/>
            <ac:spMk id="54" creationId="{CBC066DD-40A2-14C0-3533-5A404A937957}"/>
          </ac:spMkLst>
        </pc:spChg>
      </pc:sldChg>
      <pc:sldChg chg="add del">
        <pc:chgData name="Nathan Clouse" userId="60190519-0423-46ec-ac65-f82d83ecfd9c" providerId="ADAL" clId="{88664071-EA5C-4A34-9256-B0062703447E}" dt="2025-02-09T21:15:11.680" v="736"/>
        <pc:sldMkLst>
          <pc:docMk/>
          <pc:sldMk cId="3711044420" sldId="1506"/>
        </pc:sldMkLst>
      </pc:sldChg>
      <pc:sldChg chg="add">
        <pc:chgData name="Nathan Clouse" userId="60190519-0423-46ec-ac65-f82d83ecfd9c" providerId="ADAL" clId="{88664071-EA5C-4A34-9256-B0062703447E}" dt="2025-02-09T21:20:05.469" v="757"/>
        <pc:sldMkLst>
          <pc:docMk/>
          <pc:sldMk cId="334331495" sldId="1507"/>
        </pc:sldMkLst>
      </pc:sldChg>
      <pc:sldChg chg="modSp add del mod">
        <pc:chgData name="Nathan Clouse" userId="60190519-0423-46ec-ac65-f82d83ecfd9c" providerId="ADAL" clId="{88664071-EA5C-4A34-9256-B0062703447E}" dt="2025-02-14T03:57:44.894" v="970" actId="47"/>
        <pc:sldMkLst>
          <pc:docMk/>
          <pc:sldMk cId="270713035" sldId="1508"/>
        </pc:sldMkLst>
      </pc:sldChg>
      <pc:sldChg chg="new del">
        <pc:chgData name="Nathan Clouse" userId="60190519-0423-46ec-ac65-f82d83ecfd9c" providerId="ADAL" clId="{88664071-EA5C-4A34-9256-B0062703447E}" dt="2025-02-12T23:29:41.390" v="821" actId="47"/>
        <pc:sldMkLst>
          <pc:docMk/>
          <pc:sldMk cId="3790323563" sldId="1509"/>
        </pc:sldMkLst>
      </pc:sldChg>
      <pc:sldChg chg="addSp delSp modSp add mod">
        <pc:chgData name="Nathan Clouse" userId="60190519-0423-46ec-ac65-f82d83ecfd9c" providerId="ADAL" clId="{88664071-EA5C-4A34-9256-B0062703447E}" dt="2025-02-12T23:35:16.472" v="886"/>
        <pc:sldMkLst>
          <pc:docMk/>
          <pc:sldMk cId="3226768795" sldId="1510"/>
        </pc:sldMkLst>
        <pc:spChg chg="mod">
          <ac:chgData name="Nathan Clouse" userId="60190519-0423-46ec-ac65-f82d83ecfd9c" providerId="ADAL" clId="{88664071-EA5C-4A34-9256-B0062703447E}" dt="2025-02-12T23:31:06.624" v="849" actId="20577"/>
          <ac:spMkLst>
            <pc:docMk/>
            <pc:sldMk cId="3226768795" sldId="1510"/>
            <ac:spMk id="17" creationId="{C01D5A8A-6844-94EA-1969-8B5E43137136}"/>
          </ac:spMkLst>
        </pc:spChg>
        <pc:picChg chg="add mod">
          <ac:chgData name="Nathan Clouse" userId="60190519-0423-46ec-ac65-f82d83ecfd9c" providerId="ADAL" clId="{88664071-EA5C-4A34-9256-B0062703447E}" dt="2025-02-12T23:35:16.472" v="886"/>
          <ac:picMkLst>
            <pc:docMk/>
            <pc:sldMk cId="3226768795" sldId="1510"/>
            <ac:picMk id="1026" creationId="{DF24B92D-5E2B-579E-E47B-CF0280C9F2C6}"/>
          </ac:picMkLst>
        </pc:picChg>
      </pc:sldChg>
      <pc:sldChg chg="modSp add mod">
        <pc:chgData name="Nathan Clouse" userId="60190519-0423-46ec-ac65-f82d83ecfd9c" providerId="ADAL" clId="{88664071-EA5C-4A34-9256-B0062703447E}" dt="2025-02-12T23:38:16.797" v="896" actId="20577"/>
        <pc:sldMkLst>
          <pc:docMk/>
          <pc:sldMk cId="1180029490" sldId="1511"/>
        </pc:sldMkLst>
        <pc:spChg chg="mod">
          <ac:chgData name="Nathan Clouse" userId="60190519-0423-46ec-ac65-f82d83ecfd9c" providerId="ADAL" clId="{88664071-EA5C-4A34-9256-B0062703447E}" dt="2025-02-12T23:38:16.797" v="896" actId="20577"/>
          <ac:spMkLst>
            <pc:docMk/>
            <pc:sldMk cId="1180029490" sldId="1511"/>
            <ac:spMk id="3" creationId="{C8B8EC21-D5D6-D71A-133E-C3AA8C608E39}"/>
          </ac:spMkLst>
        </pc:spChg>
      </pc:sldChg>
      <pc:sldChg chg="modSp add mod">
        <pc:chgData name="Nathan Clouse" userId="60190519-0423-46ec-ac65-f82d83ecfd9c" providerId="ADAL" clId="{88664071-EA5C-4A34-9256-B0062703447E}" dt="2025-02-12T23:41:46.530" v="947" actId="20577"/>
        <pc:sldMkLst>
          <pc:docMk/>
          <pc:sldMk cId="1319880286" sldId="1512"/>
        </pc:sldMkLst>
        <pc:spChg chg="mod">
          <ac:chgData name="Nathan Clouse" userId="60190519-0423-46ec-ac65-f82d83ecfd9c" providerId="ADAL" clId="{88664071-EA5C-4A34-9256-B0062703447E}" dt="2025-02-12T23:36:02.075" v="892" actId="27636"/>
          <ac:spMkLst>
            <pc:docMk/>
            <pc:sldMk cId="1319880286" sldId="1512"/>
            <ac:spMk id="3" creationId="{B9284B7A-BA68-8F9D-7397-FF16D35F005F}"/>
          </ac:spMkLst>
        </pc:spChg>
        <pc:spChg chg="mod">
          <ac:chgData name="Nathan Clouse" userId="60190519-0423-46ec-ac65-f82d83ecfd9c" providerId="ADAL" clId="{88664071-EA5C-4A34-9256-B0062703447E}" dt="2025-02-12T23:41:46.530" v="947" actId="20577"/>
          <ac:spMkLst>
            <pc:docMk/>
            <pc:sldMk cId="1319880286" sldId="1512"/>
            <ac:spMk id="17" creationId="{D6FF0989-47C3-96EF-337C-407542CF15B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0D770-57B5-41AE-94A5-8172B3072938}" type="datetimeFigureOut">
              <a:rPr lang="en-US" smtClean="0"/>
              <a:t>2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21A22-6757-4DFC-AC52-B0B349051E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1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7288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redit: https://samuelardilacarreno.com/2022/09/17/monitoring-and-telemetry-for-dynamics-365-finance-and-operations/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454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00715-2EE7-7CF5-B5A0-4E245CA838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1655FD-3C9C-6BCD-78F7-F3DB30E46C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9A80F0-C5DF-B0FF-69D9-28A18900D4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01BAE6-9E35-1290-8D6A-0DE19B2D3A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3711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42D025-60B5-B07B-5209-44E182D3BE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06B1E1-D65B-A49C-4364-288C20EEF7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06D747-6BAA-613B-A511-A86B58B909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9401A6-609B-9E46-6312-0AD0CE69A0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640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6DDE1A-D3ED-6871-902B-8E1607FF4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161372-4EB8-43EE-2151-B771819954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3DC5AA8-822B-1B3D-775D-08060F3AE8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24601A-3E2C-C938-3043-BF9D6B26E6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594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BF1E-1166-42E4-A650-DA8B4F7A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E45B50-3542-4823-BBEB-016A3A15D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FC5B5-1E1F-4F0D-B339-EA77AC1BB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1C48-D9A0-4212-BCF5-162DC3A6D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B34A6-D8EB-4985-AFC2-02935CB5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3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8ECF-D4A1-455D-9C89-5A8918AFA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D0D2A3-2723-4E51-91B3-96FFD9473F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A93C8-8A6A-48B8-B7B4-54AC10D34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BC066-172F-47A4-8A21-C259819B8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ADF40-0E2A-4CEA-BE91-AD2B23C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5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79E898-53E5-4DB6-8E1F-441A34BE95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A75BBB-D183-48AD-B055-BEDA3A188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37008-1508-4D8A-AFCC-DD48481AE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37FAC-F0B4-471F-B51A-D1C1468AC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7B634-79C3-488C-BF4B-4BC20173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02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5FFCFD5-7549-46DE-99AE-A249D5D5F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5FFCFD5-7549-46DE-99AE-A249D5D5F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E13E35-06C7-4AAE-AA3F-972308AF3A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00B4D-EA0D-4DD5-92FE-9AE5CDD9248C}"/>
              </a:ext>
            </a:extLst>
          </p:cNvPr>
          <p:cNvSpPr/>
          <p:nvPr userDrawn="1"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D3AD22B-25E4-4680-8484-6D885B9CCEE8}"/>
              </a:ext>
            </a:extLst>
          </p:cNvPr>
          <p:cNvSpPr/>
          <p:nvPr userDrawn="1"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EED8CC-574A-4170-AB23-424B7F5B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05A6-6B64-4F04-A952-8081607C0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98E3A-8CEB-4709-9B49-E0C39D41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4243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43404-9A57-4735-ACBB-7108D1A42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5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C0DB-6472-43BB-ABA8-D8F66889E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6C4A-7E58-4AE3-A079-EA1D8F7E5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E6C5A-FADC-4464-B574-84BE9A9A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5AB64-3B8F-469A-9E9D-31AF0A673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44728-1BF7-442A-8B14-27772F7F2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73B3-B0D0-4D5C-92E7-2AAFB805B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FC71F-EE36-48B6-8807-2B48ADDC1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74ED-94F7-48EB-BB14-292A9DEEA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25242-488C-4F35-9C69-03455947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5215A4-C697-4853-B389-43881468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55D4F-3EC5-48E5-93CF-5B395574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1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5FD3B-62B2-40A7-9C5E-D59A563B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B52F2-0C45-40FA-BA05-6D71C7675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162A5-558A-4178-A596-17F9AF895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18D29-500B-4D5C-84EE-272E40FA2C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AE882-0C6C-4945-9BD8-8C7D92F8A4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AFC0EB-3EF1-49E9-9D2B-5BC44206C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879882-1555-42E6-BADE-2724267B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01C58-BCC5-4D09-986E-2B2C179B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7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00A9B-3C47-40D5-B012-97B76E52F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FC465-660A-4C1D-BADB-F3AC3396E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1BCC98-DE68-44EC-840A-9FB43DB0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9EF7D-6C8E-4283-BB47-AA9AB6DB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95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42AA79-F984-4422-BF6F-50883D79C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D2003D-CE92-47E4-8106-E66ED1BB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3EB9E-00B9-4AB1-BC48-99741F2FC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6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5B6F4-ADD4-4797-8738-409BE653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E08F3-F99C-4CB5-8E61-6D9945F5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CE58-44DA-48F3-ADE9-ED905CAD55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6EB04A-137F-416C-9B0B-195B39A68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5602A-70AE-46FE-89FD-5EA00F39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55F41-E685-4D3D-9929-3E02B723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63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18340-4AF0-4FF0-8817-AE7B2857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FB86DB-D51B-4F95-A82B-E19F9D736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60E2CC-1033-48AC-9E85-26A7C2E89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52D4-B87B-4D90-9451-5EA4B577F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E855-F194-46C7-B1A7-F4AB5C0AA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D6947-6438-4AB6-958F-A11FF5ED6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5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1C388-EB4B-48EF-9782-5EF82E15A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7365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F91C388-EB4B-48EF-9782-5EF82E15A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704376-6210-4E3A-9786-1426DDE0A94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06BC-D081-497A-9E69-9C9229194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1365F-4FB0-4D50-AD30-EB300A5FD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575C3-6B77-45F9-8BB3-CF2AEE26EF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FB4E16-9F6A-4AE3-A484-182F2B67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73065-0481-485F-8A72-5FC7E24E8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7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wbZ-g4AGjc4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1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11" Type="http://schemas.openxmlformats.org/officeDocument/2006/relationships/image" Target="../media/image55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3.png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1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11" Type="http://schemas.openxmlformats.org/officeDocument/2006/relationships/image" Target="../media/image55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4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3.png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2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7.png"/><Relationship Id="rId12" Type="http://schemas.openxmlformats.org/officeDocument/2006/relationships/image" Target="../media/image6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11" Type="http://schemas.openxmlformats.org/officeDocument/2006/relationships/image" Target="../media/image60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59.png"/><Relationship Id="rId4" Type="http://schemas.openxmlformats.org/officeDocument/2006/relationships/image" Target="../media/image56.png"/><Relationship Id="rId9" Type="http://schemas.openxmlformats.org/officeDocument/2006/relationships/image" Target="../media/image2.png"/><Relationship Id="rId14" Type="http://schemas.openxmlformats.org/officeDocument/2006/relationships/image" Target="../media/image6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CA3DCF-9721-1BB8-C546-AAF581D6A1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84D49A9E-5FF7-7EB7-7D67-8F2E94647A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4FFD29-0FA9-9589-FECF-9D2FB8B56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9E43E2-3949-A35F-DC6A-D382E3585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0EE0C325-E321-579F-17D8-86D0F2CC3869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7415E391-4B71-0C2D-FE27-C2B2BE56AC95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Speaker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97216866-6AF1-EFCD-511A-BB816CC2AC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60138D95-7985-BAE3-49EC-63F2397AF232}"/>
              </a:ext>
            </a:extLst>
          </p:cNvPr>
          <p:cNvSpPr/>
          <p:nvPr/>
        </p:nvSpPr>
        <p:spPr bwMode="auto">
          <a:xfrm>
            <a:off x="4644231" y="2212224"/>
            <a:ext cx="1924050" cy="1958614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Poppins" pitchFamily="2" charset="77"/>
              <a:ea typeface="Segoe UI" pitchFamily="34" charset="0"/>
              <a:cs typeface="Poppins" pitchFamily="2" charset="77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1EE7844-3C8F-A80F-6BA5-87DA4C1E7AD6}"/>
              </a:ext>
            </a:extLst>
          </p:cNvPr>
          <p:cNvSpPr txBox="1">
            <a:spLocks/>
          </p:cNvSpPr>
          <p:nvPr/>
        </p:nvSpPr>
        <p:spPr>
          <a:xfrm>
            <a:off x="3995737" y="4280298"/>
            <a:ext cx="3221037" cy="120852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400" dirty="0">
                <a:solidFill>
                  <a:schemeClr val="tx1"/>
                </a:solidFill>
                <a:latin typeface="segoe ui black"/>
                <a:ea typeface="segoe ui black"/>
                <a:cs typeface="Poppins"/>
              </a:rPr>
              <a:t>Nathan Clouse</a:t>
            </a:r>
          </a:p>
          <a:p>
            <a:pPr marL="0" indent="0" algn="ctr">
              <a:buNone/>
            </a:pPr>
            <a:r>
              <a:rPr lang="en-US" sz="1800" dirty="0">
                <a:latin typeface="segoe ui black"/>
                <a:ea typeface="segoe ui black"/>
                <a:cs typeface="Poppins"/>
              </a:rPr>
              <a:t>Technical Architect</a:t>
            </a:r>
          </a:p>
          <a:p>
            <a:pPr marL="0" indent="0" algn="ctr">
              <a:buNone/>
            </a:pPr>
            <a:r>
              <a:rPr lang="en-US" sz="1800" dirty="0">
                <a:latin typeface="segoe ui black"/>
                <a:ea typeface="segoe ui black"/>
                <a:cs typeface="Poppins"/>
              </a:rPr>
              <a:t>Microsoft MVP 5x</a:t>
            </a:r>
          </a:p>
          <a:p>
            <a:pPr marL="0" indent="0" algn="ctr">
              <a:buNone/>
            </a:pPr>
            <a:r>
              <a:rPr lang="en-US" sz="1800" dirty="0">
                <a:latin typeface="segoe ui black"/>
                <a:ea typeface="segoe ui black"/>
                <a:cs typeface="Poppins"/>
              </a:rPr>
              <a:t>Armanino</a:t>
            </a:r>
            <a:br>
              <a:rPr lang="en-US" sz="1800" dirty="0">
                <a:latin typeface="segoe ui black"/>
                <a:ea typeface="segoe ui black"/>
                <a:cs typeface="Poppins"/>
              </a:rPr>
            </a:br>
            <a:r>
              <a:rPr lang="en-US" sz="1800" dirty="0">
                <a:latin typeface="segoe ui black"/>
                <a:ea typeface="segoe ui black"/>
                <a:cs typeface="Poppins"/>
              </a:rPr>
              <a:t>AtomicAX.com</a:t>
            </a:r>
            <a:br>
              <a:rPr lang="en-US" sz="1800" dirty="0">
                <a:latin typeface="segoe ui black"/>
                <a:ea typeface="segoe ui black"/>
                <a:cs typeface="Poppins"/>
              </a:rPr>
            </a:br>
            <a:r>
              <a:rPr lang="en-US" sz="1800" dirty="0">
                <a:latin typeface="segoe ui black"/>
                <a:ea typeface="segoe ui black"/>
                <a:cs typeface="Poppins"/>
              </a:rPr>
              <a:t>Dynamics.fo</a:t>
            </a:r>
          </a:p>
        </p:txBody>
      </p:sp>
      <p:pic>
        <p:nvPicPr>
          <p:cNvPr id="7" name="Picture 6" descr="A person wearing glasses smiling&#10;&#10;Description automatically generated">
            <a:extLst>
              <a:ext uri="{FF2B5EF4-FFF2-40B4-BE49-F238E27FC236}">
                <a16:creationId xmlns:a16="http://schemas.microsoft.com/office/drawing/2014/main" id="{2FD263E3-AB20-37BB-3079-8ADC1527EE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8336" y="2097925"/>
            <a:ext cx="2195837" cy="219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4417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9E5307-BB70-5CE9-23F5-A32F5A12A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F75273-BD6C-51CB-907D-FFB3B49917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A6E546-A772-4B7D-CF9B-B15284A90E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26C3E2-CF96-5B8C-3624-F79AE78E05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9182" y="182562"/>
            <a:ext cx="7282730" cy="649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8768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6ADA84-34CC-B4C4-2D64-FFD79CF1E7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CCC42D54-163A-0141-D62D-742BDBCDB8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D93FDE-2B05-B2A4-5F41-2C2C760613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The Excel add in can be clunky and slow</a:t>
            </a:r>
          </a:p>
          <a:p>
            <a:r>
              <a:rPr lang="en-US" sz="3600" dirty="0"/>
              <a:t>First, see if any new data entities are available</a:t>
            </a:r>
          </a:p>
          <a:p>
            <a:r>
              <a:rPr lang="en-US" sz="3600" dirty="0"/>
              <a:t>Next, see if any other data entities are available that are faster</a:t>
            </a:r>
          </a:p>
          <a:p>
            <a:endParaRPr lang="en-GB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79EDF8-AE8C-A784-1914-E5561013E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CFB2A4AB-18A4-55FC-9D95-1589CDBF998C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FE9BC5F9-EC1F-B177-6C8D-7DADD483DDBE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Excel Add In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60A47532-451B-CD10-C34E-1F994E2DDF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8484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379B-DD73-2A5F-150A-562979DBA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FA7E52-B549-4FDD-BD7B-97312C508E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EB9711-96FC-642E-5D7C-92F8285853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FFA54F-0B90-8160-E91A-CD12A02E51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500" y="410004"/>
            <a:ext cx="11615589" cy="5766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748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257232-6FCF-B45E-0485-5D13EDB48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11C334-5001-21DC-12E5-890E7E099A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9AFDA5-7561-D580-2238-6CE9F8DDD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854FFF-3AFD-47A4-FC98-EDA1C969F5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850" y="410004"/>
            <a:ext cx="11615589" cy="5766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8113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7C3DA0-D4CB-E55E-BBEA-5FCF3151B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453755-7A46-6318-AB56-44EC178B4C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232DEF-CE52-1B7E-B771-E77DDABDB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600E9E-3ADA-59AE-BDB4-AAD838E7DA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500" y="484617"/>
            <a:ext cx="11465307" cy="5692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1886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93BC16-4E03-499C-C064-9576B2862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B58DA6-B378-B770-302D-0C318BF172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5E8CD7-67A4-86A9-56D5-50E0826389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E9AAD4A-3EA4-505B-FA37-8F586C3AC8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428" y="228561"/>
            <a:ext cx="11657143" cy="603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929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F06911-E44C-5647-D37C-6F1F7C41E3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32C37394-98F4-C37F-9A6B-2223E0059B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ABD10F-20AE-5F35-A206-D1BCC94157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f you’re waiting, </a:t>
            </a:r>
            <a:br>
              <a:rPr lang="en-US" dirty="0"/>
            </a:br>
            <a:r>
              <a:rPr lang="en-US" dirty="0"/>
              <a:t>is using batch an </a:t>
            </a:r>
            <a:r>
              <a:rPr lang="en-US" sz="3200" dirty="0"/>
              <a:t>option</a:t>
            </a:r>
            <a:r>
              <a:rPr lang="en-US" dirty="0"/>
              <a:t>?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A09CD6-E145-9F51-1274-3123E1588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239B9556-8146-85DE-B4AA-F9015A471B5F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8196AF15-D8BD-7308-328A-1401B6B46302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Waiting?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5449DBF9-165D-EB1F-0021-96331DD325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B7C6548-1A7E-08DA-FDA5-2F79375191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42861" y="1609491"/>
            <a:ext cx="6257143" cy="473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3547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6A4ED0-74C3-1174-C66F-2DF8445AA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69F849-91F5-4245-4670-1D125E8E8F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F0A8AB-3B4A-D2EF-84E7-DA7380DA8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C74E94-FE91-D3F8-7F72-3E9CE65791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5271" y="92698"/>
            <a:ext cx="7921457" cy="6400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8887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687E1-CEF6-F088-895F-4C5F92B87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D7AFA6-6CE3-EDF5-496D-66656CB486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4F22C3-E3B5-1996-3F9E-EA0A001EB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4F200F-DAF9-B55D-4BC2-7FDEB4B07C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0485" y="100008"/>
            <a:ext cx="3992450" cy="5910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5055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FF73E5-45F1-AE3D-27DB-C17A3BD05E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BB2C26CA-5F88-C90E-8077-570810E8A9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9A8C51-61AE-3D87-FF73-DF48E88F0C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Identify long running batch jobs and review history</a:t>
            </a:r>
          </a:p>
          <a:p>
            <a:r>
              <a:rPr lang="en-US" sz="3200" b="1" dirty="0"/>
              <a:t>System Administration &gt; Inquiries &gt; Batch Jobs</a:t>
            </a:r>
          </a:p>
          <a:p>
            <a:r>
              <a:rPr lang="en-US" sz="3200" b="1" dirty="0"/>
              <a:t>System Administration &gt; Workspaces &gt; System Administration</a:t>
            </a:r>
          </a:p>
          <a:p>
            <a:pPr marL="0" indent="0">
              <a:buNone/>
            </a:pPr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929AC8-4154-4DD0-2654-A939601EA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1BE91EF7-DD54-46C2-9EC6-F2F5C647AA1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F45E43F4-2785-A4A8-F4C6-A906DB68F794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Batch Jobs ( and History )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DB295702-451E-5BD6-C5C2-F93CCA6FAB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965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D72A03-11B9-4E6C-BCD0-ABF1CEA11D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86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D72A03-11B9-4E6C-BCD0-ABF1CEA11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B2389E89-8E98-4579-91A3-E987C1C7A7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1" name="Freeform 46">
            <a:extLst>
              <a:ext uri="{FF2B5EF4-FFF2-40B4-BE49-F238E27FC236}">
                <a16:creationId xmlns:a16="http://schemas.microsoft.com/office/drawing/2014/main" id="{4D9DC0AD-5633-4D49-BD94-C66F7DCB7AD6}"/>
              </a:ext>
            </a:extLst>
          </p:cNvPr>
          <p:cNvSpPr/>
          <p:nvPr/>
        </p:nvSpPr>
        <p:spPr>
          <a:xfrm>
            <a:off x="6107351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" name="Freeform 46">
            <a:extLst>
              <a:ext uri="{FF2B5EF4-FFF2-40B4-BE49-F238E27FC236}">
                <a16:creationId xmlns:a16="http://schemas.microsoft.com/office/drawing/2014/main" id="{8ED71039-7081-468E-AB92-9D260FF8A12E}"/>
              </a:ext>
            </a:extLst>
          </p:cNvPr>
          <p:cNvSpPr/>
          <p:nvPr/>
        </p:nvSpPr>
        <p:spPr>
          <a:xfrm>
            <a:off x="7993128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Freeform 46">
            <a:extLst>
              <a:ext uri="{FF2B5EF4-FFF2-40B4-BE49-F238E27FC236}">
                <a16:creationId xmlns:a16="http://schemas.microsoft.com/office/drawing/2014/main" id="{EEA6B409-1179-47CA-903C-EDA2E45A466C}"/>
              </a:ext>
            </a:extLst>
          </p:cNvPr>
          <p:cNvSpPr/>
          <p:nvPr/>
        </p:nvSpPr>
        <p:spPr>
          <a:xfrm>
            <a:off x="9878905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Rectángulo 6175">
            <a:extLst>
              <a:ext uri="{FF2B5EF4-FFF2-40B4-BE49-F238E27FC236}">
                <a16:creationId xmlns:a16="http://schemas.microsoft.com/office/drawing/2014/main" id="{2A64D682-0050-4389-A90C-EFAC74AECC49}"/>
              </a:ext>
            </a:extLst>
          </p:cNvPr>
          <p:cNvSpPr/>
          <p:nvPr/>
        </p:nvSpPr>
        <p:spPr>
          <a:xfrm>
            <a:off x="0" y="-36682"/>
            <a:ext cx="12214702" cy="2683845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任意多边形: 形状 16">
            <a:extLst>
              <a:ext uri="{FF2B5EF4-FFF2-40B4-BE49-F238E27FC236}">
                <a16:creationId xmlns:a16="http://schemas.microsoft.com/office/drawing/2014/main" id="{B41D6309-0230-480F-8705-C0BE4833FB4E}"/>
              </a:ext>
            </a:extLst>
          </p:cNvPr>
          <p:cNvSpPr/>
          <p:nvPr/>
        </p:nvSpPr>
        <p:spPr>
          <a:xfrm rot="10800000">
            <a:off x="27305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任意多边形: 形状 16">
            <a:extLst>
              <a:ext uri="{FF2B5EF4-FFF2-40B4-BE49-F238E27FC236}">
                <a16:creationId xmlns:a16="http://schemas.microsoft.com/office/drawing/2014/main" id="{66AD9C33-101F-4AD0-9008-15A7C8976DD8}"/>
              </a:ext>
            </a:extLst>
          </p:cNvPr>
          <p:cNvSpPr/>
          <p:nvPr/>
        </p:nvSpPr>
        <p:spPr>
          <a:xfrm rot="10800000">
            <a:off x="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任意多边形: 形状 16">
            <a:extLst>
              <a:ext uri="{FF2B5EF4-FFF2-40B4-BE49-F238E27FC236}">
                <a16:creationId xmlns:a16="http://schemas.microsoft.com/office/drawing/2014/main" id="{11D50B8D-711A-451B-9DA6-E859A753420B}"/>
              </a:ext>
            </a:extLst>
          </p:cNvPr>
          <p:cNvSpPr/>
          <p:nvPr/>
        </p:nvSpPr>
        <p:spPr>
          <a:xfrm rot="10800000">
            <a:off x="27466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任意多边形: 形状 16">
            <a:extLst>
              <a:ext uri="{FF2B5EF4-FFF2-40B4-BE49-F238E27FC236}">
                <a16:creationId xmlns:a16="http://schemas.microsoft.com/office/drawing/2014/main" id="{DE495D2F-7C07-4866-B830-0C0EAB5809D4}"/>
              </a:ext>
            </a:extLst>
          </p:cNvPr>
          <p:cNvSpPr/>
          <p:nvPr/>
        </p:nvSpPr>
        <p:spPr>
          <a:xfrm rot="10800000">
            <a:off x="161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任意多边形: 形状 16">
            <a:extLst>
              <a:ext uri="{FF2B5EF4-FFF2-40B4-BE49-F238E27FC236}">
                <a16:creationId xmlns:a16="http://schemas.microsoft.com/office/drawing/2014/main" id="{532E5B3A-1DDF-4B30-B942-35F41308A3DF}"/>
              </a:ext>
            </a:extLst>
          </p:cNvPr>
          <p:cNvSpPr/>
          <p:nvPr/>
        </p:nvSpPr>
        <p:spPr>
          <a:xfrm rot="10800000">
            <a:off x="54771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任意多边形: 形状 16">
            <a:extLst>
              <a:ext uri="{FF2B5EF4-FFF2-40B4-BE49-F238E27FC236}">
                <a16:creationId xmlns:a16="http://schemas.microsoft.com/office/drawing/2014/main" id="{66CD9716-F730-41A4-B083-C6BBE3A64580}"/>
              </a:ext>
            </a:extLst>
          </p:cNvPr>
          <p:cNvSpPr/>
          <p:nvPr/>
        </p:nvSpPr>
        <p:spPr>
          <a:xfrm rot="10800000">
            <a:off x="82203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36B71F34-F6E5-49FC-958C-CC95E450CBA2}"/>
              </a:ext>
            </a:extLst>
          </p:cNvPr>
          <p:cNvSpPr/>
          <p:nvPr/>
        </p:nvSpPr>
        <p:spPr>
          <a:xfrm rot="10800000">
            <a:off x="10963577" y="-27807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4" name="任意多边形: 形状 16">
            <a:extLst>
              <a:ext uri="{FF2B5EF4-FFF2-40B4-BE49-F238E27FC236}">
                <a16:creationId xmlns:a16="http://schemas.microsoft.com/office/drawing/2014/main" id="{387479D5-7E0D-498F-807F-D29675002DDC}"/>
              </a:ext>
            </a:extLst>
          </p:cNvPr>
          <p:cNvSpPr/>
          <p:nvPr/>
        </p:nvSpPr>
        <p:spPr>
          <a:xfrm rot="10800000">
            <a:off x="54610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: 形状 16">
            <a:extLst>
              <a:ext uri="{FF2B5EF4-FFF2-40B4-BE49-F238E27FC236}">
                <a16:creationId xmlns:a16="http://schemas.microsoft.com/office/drawing/2014/main" id="{8C64FE4C-BD51-4E69-B027-70D75C63AF5C}"/>
              </a:ext>
            </a:extLst>
          </p:cNvPr>
          <p:cNvSpPr/>
          <p:nvPr/>
        </p:nvSpPr>
        <p:spPr>
          <a:xfrm rot="10800000">
            <a:off x="82042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D515D6-1ADB-4D8D-B3AC-1B0531764E09}"/>
              </a:ext>
            </a:extLst>
          </p:cNvPr>
          <p:cNvSpPr/>
          <p:nvPr/>
        </p:nvSpPr>
        <p:spPr>
          <a:xfrm rot="10800000">
            <a:off x="10947400" y="262039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0B84BBC-F177-4629-A741-B627A06E500D}"/>
              </a:ext>
            </a:extLst>
          </p:cNvPr>
          <p:cNvSpPr/>
          <p:nvPr/>
        </p:nvSpPr>
        <p:spPr>
          <a:xfrm>
            <a:off x="566057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190FA3A6-A08C-4DCE-8A05-1B994166BB0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88390" y="1205676"/>
            <a:ext cx="4446650" cy="4446650"/>
          </a:xfrm>
          <a:custGeom>
            <a:avLst/>
            <a:gdLst>
              <a:gd name="connsiteX0" fmla="*/ 2223325 w 4446650"/>
              <a:gd name="connsiteY0" fmla="*/ 0 h 4446650"/>
              <a:gd name="connsiteX1" fmla="*/ 4446650 w 4446650"/>
              <a:gd name="connsiteY1" fmla="*/ 2223325 h 4446650"/>
              <a:gd name="connsiteX2" fmla="*/ 2223325 w 4446650"/>
              <a:gd name="connsiteY2" fmla="*/ 4446650 h 4446650"/>
              <a:gd name="connsiteX3" fmla="*/ 0 w 4446650"/>
              <a:gd name="connsiteY3" fmla="*/ 2223325 h 4446650"/>
              <a:gd name="connsiteX4" fmla="*/ 2223325 w 4446650"/>
              <a:gd name="connsiteY4" fmla="*/ 0 h 4446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6650" h="4446650">
                <a:moveTo>
                  <a:pt x="2223325" y="0"/>
                </a:moveTo>
                <a:cubicBezTo>
                  <a:pt x="3451233" y="0"/>
                  <a:pt x="4446650" y="995417"/>
                  <a:pt x="4446650" y="2223325"/>
                </a:cubicBezTo>
                <a:cubicBezTo>
                  <a:pt x="4446650" y="3451233"/>
                  <a:pt x="3451233" y="4446650"/>
                  <a:pt x="2223325" y="4446650"/>
                </a:cubicBezTo>
                <a:cubicBezTo>
                  <a:pt x="995417" y="4446650"/>
                  <a:pt x="0" y="3451233"/>
                  <a:pt x="0" y="2223325"/>
                </a:cubicBezTo>
                <a:cubicBezTo>
                  <a:pt x="0" y="995417"/>
                  <a:pt x="995417" y="0"/>
                  <a:pt x="2223325" y="0"/>
                </a:cubicBezTo>
                <a:close/>
              </a:path>
            </a:pathLst>
          </a:cu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2A58A6FB-24A2-4A27-8181-6B6DD240EBB2}"/>
              </a:ext>
            </a:extLst>
          </p:cNvPr>
          <p:cNvSpPr/>
          <p:nvPr/>
        </p:nvSpPr>
        <p:spPr>
          <a:xfrm>
            <a:off x="3811331" y="4575688"/>
            <a:ext cx="1422400" cy="1422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1703243E-44E4-457F-80BE-7AA8096FA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1" y="457704"/>
            <a:ext cx="5529942" cy="741568"/>
          </a:xfrm>
        </p:spPr>
        <p:txBody>
          <a:bodyPr lIns="0" rIns="0">
            <a:norm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ro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DBE26754-A8EE-45ED-AD2C-1D7BC6C96481}"/>
              </a:ext>
            </a:extLst>
          </p:cNvPr>
          <p:cNvSpPr/>
          <p:nvPr/>
        </p:nvSpPr>
        <p:spPr>
          <a:xfrm>
            <a:off x="6495049" y="2556263"/>
            <a:ext cx="971518" cy="97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1E668B5-104D-4900-8130-C67C60CD123C}"/>
              </a:ext>
            </a:extLst>
          </p:cNvPr>
          <p:cNvSpPr/>
          <p:nvPr/>
        </p:nvSpPr>
        <p:spPr>
          <a:xfrm>
            <a:off x="8380826" y="2556263"/>
            <a:ext cx="971518" cy="97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A40714D9-0357-486C-ADB2-0041C25416E3}"/>
              </a:ext>
            </a:extLst>
          </p:cNvPr>
          <p:cNvSpPr/>
          <p:nvPr/>
        </p:nvSpPr>
        <p:spPr>
          <a:xfrm>
            <a:off x="10266603" y="2556263"/>
            <a:ext cx="971518" cy="97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7629AD3-06D2-4F08-A9C3-1728F5520D12}"/>
              </a:ext>
            </a:extLst>
          </p:cNvPr>
          <p:cNvSpPr/>
          <p:nvPr/>
        </p:nvSpPr>
        <p:spPr>
          <a:xfrm>
            <a:off x="6675899" y="2740405"/>
            <a:ext cx="603235" cy="603235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FF52474-E8B1-476E-A066-2F057C038851}"/>
              </a:ext>
            </a:extLst>
          </p:cNvPr>
          <p:cNvSpPr/>
          <p:nvPr/>
        </p:nvSpPr>
        <p:spPr>
          <a:xfrm>
            <a:off x="8561676" y="2740405"/>
            <a:ext cx="603235" cy="603235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12C8BFD-AF13-41E5-8233-490987B304F7}"/>
              </a:ext>
            </a:extLst>
          </p:cNvPr>
          <p:cNvSpPr/>
          <p:nvPr/>
        </p:nvSpPr>
        <p:spPr>
          <a:xfrm>
            <a:off x="10447453" y="2740405"/>
            <a:ext cx="603235" cy="603235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E63FFAA8-15DA-4D24-AB88-1B8C66AC4264}"/>
              </a:ext>
            </a:extLst>
          </p:cNvPr>
          <p:cNvSpPr txBox="1">
            <a:spLocks/>
          </p:cNvSpPr>
          <p:nvPr/>
        </p:nvSpPr>
        <p:spPr>
          <a:xfrm>
            <a:off x="6124672" y="1407657"/>
            <a:ext cx="5501148" cy="10409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2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689934C-C9A0-4825-ACAB-5C8EEBD0BDE0}"/>
              </a:ext>
            </a:extLst>
          </p:cNvPr>
          <p:cNvGrpSpPr/>
          <p:nvPr/>
        </p:nvGrpSpPr>
        <p:grpSpPr>
          <a:xfrm>
            <a:off x="6847631" y="2912136"/>
            <a:ext cx="259771" cy="259772"/>
            <a:chOff x="6773863" y="639763"/>
            <a:chExt cx="7715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740C56B3-48FD-4A1B-AF2C-7C1ED2DC9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771525" cy="147638"/>
            </a:xfrm>
            <a:custGeom>
              <a:avLst/>
              <a:gdLst>
                <a:gd name="T0" fmla="*/ 204 w 204"/>
                <a:gd name="T1" fmla="*/ 39 h 39"/>
                <a:gd name="T2" fmla="*/ 0 w 204"/>
                <a:gd name="T3" fmla="*/ 39 h 39"/>
                <a:gd name="T4" fmla="*/ 0 w 204"/>
                <a:gd name="T5" fmla="*/ 20 h 39"/>
                <a:gd name="T6" fmla="*/ 19 w 204"/>
                <a:gd name="T7" fmla="*/ 0 h 39"/>
                <a:gd name="T8" fmla="*/ 185 w 204"/>
                <a:gd name="T9" fmla="*/ 0 h 39"/>
                <a:gd name="T10" fmla="*/ 204 w 204"/>
                <a:gd name="T11" fmla="*/ 20 h 39"/>
                <a:gd name="T12" fmla="*/ 204 w 20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204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6" y="0"/>
                    <a:pt x="204" y="9"/>
                    <a:pt x="204" y="20"/>
                  </a:cubicBezTo>
                  <a:lnTo>
                    <a:pt x="204" y="39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9259A585-1DEB-4486-9190-678231266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355600" cy="147638"/>
            </a:xfrm>
            <a:custGeom>
              <a:avLst/>
              <a:gdLst>
                <a:gd name="T0" fmla="*/ 94 w 94"/>
                <a:gd name="T1" fmla="*/ 0 h 39"/>
                <a:gd name="T2" fmla="*/ 19 w 94"/>
                <a:gd name="T3" fmla="*/ 0 h 39"/>
                <a:gd name="T4" fmla="*/ 0 w 94"/>
                <a:gd name="T5" fmla="*/ 20 h 39"/>
                <a:gd name="T6" fmla="*/ 0 w 94"/>
                <a:gd name="T7" fmla="*/ 39 h 39"/>
                <a:gd name="T8" fmla="*/ 55 w 94"/>
                <a:gd name="T9" fmla="*/ 39 h 39"/>
                <a:gd name="T10" fmla="*/ 94 w 94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9">
                  <a:moveTo>
                    <a:pt x="9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AD805C3C-911B-4023-9422-3D5B55E54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831851"/>
              <a:ext cx="771525" cy="579438"/>
            </a:xfrm>
            <a:custGeom>
              <a:avLst/>
              <a:gdLst>
                <a:gd name="T0" fmla="*/ 204 w 204"/>
                <a:gd name="T1" fmla="*/ 134 h 153"/>
                <a:gd name="T2" fmla="*/ 185 w 204"/>
                <a:gd name="T3" fmla="*/ 153 h 153"/>
                <a:gd name="T4" fmla="*/ 19 w 204"/>
                <a:gd name="T5" fmla="*/ 153 h 153"/>
                <a:gd name="T6" fmla="*/ 0 w 204"/>
                <a:gd name="T7" fmla="*/ 134 h 153"/>
                <a:gd name="T8" fmla="*/ 0 w 204"/>
                <a:gd name="T9" fmla="*/ 0 h 153"/>
                <a:gd name="T10" fmla="*/ 204 w 204"/>
                <a:gd name="T11" fmla="*/ 0 h 153"/>
                <a:gd name="T12" fmla="*/ 204 w 204"/>
                <a:gd name="T13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53">
                  <a:moveTo>
                    <a:pt x="204" y="134"/>
                  </a:moveTo>
                  <a:cubicBezTo>
                    <a:pt x="204" y="145"/>
                    <a:pt x="196" y="153"/>
                    <a:pt x="185" y="153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8" y="153"/>
                    <a:pt x="0" y="145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Rectangle 57">
              <a:extLst>
                <a:ext uri="{FF2B5EF4-FFF2-40B4-BE49-F238E27FC236}">
                  <a16:creationId xmlns:a16="http://schemas.microsoft.com/office/drawing/2014/main" id="{5249476F-C2A3-47FD-9DFE-12BBDA05DC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976" y="927101"/>
              <a:ext cx="120650" cy="1095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Rectangle 58">
              <a:extLst>
                <a:ext uri="{FF2B5EF4-FFF2-40B4-BE49-F238E27FC236}">
                  <a16:creationId xmlns:a16="http://schemas.microsoft.com/office/drawing/2014/main" id="{188D1DC1-E992-4E5D-92EA-154BAA17E8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Rectangle 59">
              <a:extLst>
                <a:ext uri="{FF2B5EF4-FFF2-40B4-BE49-F238E27FC236}">
                  <a16:creationId xmlns:a16="http://schemas.microsoft.com/office/drawing/2014/main" id="{FCFBD843-EAA5-4213-81D9-801D5C3CA0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063626"/>
              <a:ext cx="122238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Rectangle 60">
              <a:extLst>
                <a:ext uri="{FF2B5EF4-FFF2-40B4-BE49-F238E27FC236}">
                  <a16:creationId xmlns:a16="http://schemas.microsoft.com/office/drawing/2014/main" id="{F96DCAE9-EA96-4109-926B-EF75CD59DF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927101"/>
              <a:ext cx="131763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Rectangle 61">
              <a:extLst>
                <a:ext uri="{FF2B5EF4-FFF2-40B4-BE49-F238E27FC236}">
                  <a16:creationId xmlns:a16="http://schemas.microsoft.com/office/drawing/2014/main" id="{616662D0-955E-4824-AECE-6866ADE9F5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927101"/>
              <a:ext cx="122238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Rectangle 62">
              <a:extLst>
                <a:ext uri="{FF2B5EF4-FFF2-40B4-BE49-F238E27FC236}">
                  <a16:creationId xmlns:a16="http://schemas.microsoft.com/office/drawing/2014/main" id="{3F611A55-568B-4B8D-A35F-0966E78C34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195388"/>
              <a:ext cx="122238" cy="1206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Rectangle 63">
              <a:extLst>
                <a:ext uri="{FF2B5EF4-FFF2-40B4-BE49-F238E27FC236}">
                  <a16:creationId xmlns:a16="http://schemas.microsoft.com/office/drawing/2014/main" id="{A5E65AB1-C895-4E26-A5ED-652EC83C1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Rectangle 64">
              <a:extLst>
                <a:ext uri="{FF2B5EF4-FFF2-40B4-BE49-F238E27FC236}">
                  <a16:creationId xmlns:a16="http://schemas.microsoft.com/office/drawing/2014/main" id="{39E95FC6-7DFD-479B-8587-E91464845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927101"/>
              <a:ext cx="120650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Rectangle 65">
              <a:extLst>
                <a:ext uri="{FF2B5EF4-FFF2-40B4-BE49-F238E27FC236}">
                  <a16:creationId xmlns:a16="http://schemas.microsoft.com/office/drawing/2014/main" id="{51B96164-3236-4F76-86B6-63ADEFE9EF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Rectangle 66">
              <a:extLst>
                <a:ext uri="{FF2B5EF4-FFF2-40B4-BE49-F238E27FC236}">
                  <a16:creationId xmlns:a16="http://schemas.microsoft.com/office/drawing/2014/main" id="{B59F964E-D81A-41D1-B205-57DC014F2B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063626"/>
              <a:ext cx="131763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Rectangle 67">
              <a:extLst>
                <a:ext uri="{FF2B5EF4-FFF2-40B4-BE49-F238E27FC236}">
                  <a16:creationId xmlns:a16="http://schemas.microsoft.com/office/drawing/2014/main" id="{C66110BE-E778-4269-B3D9-255AB54647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195388"/>
              <a:ext cx="131763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Rectangle 68">
              <a:extLst>
                <a:ext uri="{FF2B5EF4-FFF2-40B4-BE49-F238E27FC236}">
                  <a16:creationId xmlns:a16="http://schemas.microsoft.com/office/drawing/2014/main" id="{E887E1D8-A990-4898-8F9E-B3F88C298E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Freeform 69">
              <a:extLst>
                <a:ext uri="{FF2B5EF4-FFF2-40B4-BE49-F238E27FC236}">
                  <a16:creationId xmlns:a16="http://schemas.microsoft.com/office/drawing/2014/main" id="{C8D0E38F-EA0F-4FCC-838F-704E51EC9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639763"/>
              <a:ext cx="71438" cy="142875"/>
            </a:xfrm>
            <a:custGeom>
              <a:avLst/>
              <a:gdLst>
                <a:gd name="T0" fmla="*/ 19 w 19"/>
                <a:gd name="T1" fmla="*/ 28 h 38"/>
                <a:gd name="T2" fmla="*/ 10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10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70">
              <a:extLst>
                <a:ext uri="{FF2B5EF4-FFF2-40B4-BE49-F238E27FC236}">
                  <a16:creationId xmlns:a16="http://schemas.microsoft.com/office/drawing/2014/main" id="{3CD93E22-0FBA-45AD-B979-370061486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1" y="639763"/>
              <a:ext cx="73025" cy="142875"/>
            </a:xfrm>
            <a:custGeom>
              <a:avLst/>
              <a:gdLst>
                <a:gd name="T0" fmla="*/ 19 w 19"/>
                <a:gd name="T1" fmla="*/ 28 h 38"/>
                <a:gd name="T2" fmla="*/ 9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9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4" y="38"/>
                    <a:pt x="9" y="38"/>
                  </a:cubicBezTo>
                  <a:cubicBezTo>
                    <a:pt x="4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71">
              <a:extLst>
                <a:ext uri="{FF2B5EF4-FFF2-40B4-BE49-F238E27FC236}">
                  <a16:creationId xmlns:a16="http://schemas.microsoft.com/office/drawing/2014/main" id="{7626CB74-483C-4EA7-97EE-33A6F0601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6" y="639763"/>
              <a:ext cx="76200" cy="142875"/>
            </a:xfrm>
            <a:custGeom>
              <a:avLst/>
              <a:gdLst>
                <a:gd name="T0" fmla="*/ 20 w 20"/>
                <a:gd name="T1" fmla="*/ 28 h 38"/>
                <a:gd name="T2" fmla="*/ 10 w 20"/>
                <a:gd name="T3" fmla="*/ 38 h 38"/>
                <a:gd name="T4" fmla="*/ 0 w 20"/>
                <a:gd name="T5" fmla="*/ 28 h 38"/>
                <a:gd name="T6" fmla="*/ 0 w 20"/>
                <a:gd name="T7" fmla="*/ 9 h 38"/>
                <a:gd name="T8" fmla="*/ 10 w 20"/>
                <a:gd name="T9" fmla="*/ 0 h 38"/>
                <a:gd name="T10" fmla="*/ 20 w 20"/>
                <a:gd name="T11" fmla="*/ 9 h 38"/>
                <a:gd name="T12" fmla="*/ 20 w 20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8">
                  <a:moveTo>
                    <a:pt x="20" y="28"/>
                  </a:moveTo>
                  <a:cubicBezTo>
                    <a:pt x="20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9"/>
                  </a:cubicBezTo>
                  <a:lnTo>
                    <a:pt x="20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51F252D-8D24-4F4B-ADFA-DDA24BFECA12}"/>
              </a:ext>
            </a:extLst>
          </p:cNvPr>
          <p:cNvGrpSpPr/>
          <p:nvPr/>
        </p:nvGrpSpPr>
        <p:grpSpPr>
          <a:xfrm>
            <a:off x="8732071" y="2910800"/>
            <a:ext cx="262445" cy="262445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3" name="Freeform 231">
              <a:extLst>
                <a:ext uri="{FF2B5EF4-FFF2-40B4-BE49-F238E27FC236}">
                  <a16:creationId xmlns:a16="http://schemas.microsoft.com/office/drawing/2014/main" id="{9CEF990B-9DCF-4476-8057-FF994F2BB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232">
              <a:extLst>
                <a:ext uri="{FF2B5EF4-FFF2-40B4-BE49-F238E27FC236}">
                  <a16:creationId xmlns:a16="http://schemas.microsoft.com/office/drawing/2014/main" id="{D3CCD31B-0E6A-44CC-9670-E77B91A03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233">
              <a:extLst>
                <a:ext uri="{FF2B5EF4-FFF2-40B4-BE49-F238E27FC236}">
                  <a16:creationId xmlns:a16="http://schemas.microsoft.com/office/drawing/2014/main" id="{4A4A2158-2897-4BA6-B2CA-5E75C0F35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Oval 234">
              <a:extLst>
                <a:ext uri="{FF2B5EF4-FFF2-40B4-BE49-F238E27FC236}">
                  <a16:creationId xmlns:a16="http://schemas.microsoft.com/office/drawing/2014/main" id="{FE6C0AF9-AFF3-4A62-B49F-2A2BDD14EA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235">
              <a:extLst>
                <a:ext uri="{FF2B5EF4-FFF2-40B4-BE49-F238E27FC236}">
                  <a16:creationId xmlns:a16="http://schemas.microsoft.com/office/drawing/2014/main" id="{D2088C3D-E467-4638-A23D-B7574323B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6C0F2FDD-0FDD-4E72-8AE5-6EAF7DBB3AC5}"/>
              </a:ext>
            </a:extLst>
          </p:cNvPr>
          <p:cNvGrpSpPr/>
          <p:nvPr/>
        </p:nvGrpSpPr>
        <p:grpSpPr>
          <a:xfrm>
            <a:off x="10605902" y="2898854"/>
            <a:ext cx="286336" cy="286337"/>
            <a:chOff x="8624888" y="2216150"/>
            <a:chExt cx="773112" cy="77311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80" name="Freeform 117">
              <a:extLst>
                <a:ext uri="{FF2B5EF4-FFF2-40B4-BE49-F238E27FC236}">
                  <a16:creationId xmlns:a16="http://schemas.microsoft.com/office/drawing/2014/main" id="{9B36D8B2-14D8-4217-8002-AB60215CE9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24888" y="2216150"/>
              <a:ext cx="773112" cy="773113"/>
            </a:xfrm>
            <a:custGeom>
              <a:avLst/>
              <a:gdLst>
                <a:gd name="T0" fmla="*/ 102 w 204"/>
                <a:gd name="T1" fmla="*/ 160 h 204"/>
                <a:gd name="T2" fmla="*/ 44 w 204"/>
                <a:gd name="T3" fmla="*/ 102 h 204"/>
                <a:gd name="T4" fmla="*/ 102 w 204"/>
                <a:gd name="T5" fmla="*/ 44 h 204"/>
                <a:gd name="T6" fmla="*/ 160 w 204"/>
                <a:gd name="T7" fmla="*/ 102 h 204"/>
                <a:gd name="T8" fmla="*/ 102 w 204"/>
                <a:gd name="T9" fmla="*/ 160 h 204"/>
                <a:gd name="T10" fmla="*/ 198 w 204"/>
                <a:gd name="T11" fmla="*/ 89 h 204"/>
                <a:gd name="T12" fmla="*/ 178 w 204"/>
                <a:gd name="T13" fmla="*/ 89 h 204"/>
                <a:gd name="T14" fmla="*/ 165 w 204"/>
                <a:gd name="T15" fmla="*/ 58 h 204"/>
                <a:gd name="T16" fmla="*/ 179 w 204"/>
                <a:gd name="T17" fmla="*/ 43 h 204"/>
                <a:gd name="T18" fmla="*/ 179 w 204"/>
                <a:gd name="T19" fmla="*/ 34 h 204"/>
                <a:gd name="T20" fmla="*/ 170 w 204"/>
                <a:gd name="T21" fmla="*/ 25 h 204"/>
                <a:gd name="T22" fmla="*/ 161 w 204"/>
                <a:gd name="T23" fmla="*/ 25 h 204"/>
                <a:gd name="T24" fmla="*/ 146 w 204"/>
                <a:gd name="T25" fmla="*/ 39 h 204"/>
                <a:gd name="T26" fmla="*/ 115 w 204"/>
                <a:gd name="T27" fmla="*/ 26 h 204"/>
                <a:gd name="T28" fmla="*/ 115 w 204"/>
                <a:gd name="T29" fmla="*/ 6 h 204"/>
                <a:gd name="T30" fmla="*/ 108 w 204"/>
                <a:gd name="T31" fmla="*/ 0 h 204"/>
                <a:gd name="T32" fmla="*/ 96 w 204"/>
                <a:gd name="T33" fmla="*/ 0 h 204"/>
                <a:gd name="T34" fmla="*/ 89 w 204"/>
                <a:gd name="T35" fmla="*/ 6 h 204"/>
                <a:gd name="T36" fmla="*/ 89 w 204"/>
                <a:gd name="T37" fmla="*/ 26 h 204"/>
                <a:gd name="T38" fmla="*/ 58 w 204"/>
                <a:gd name="T39" fmla="*/ 39 h 204"/>
                <a:gd name="T40" fmla="*/ 43 w 204"/>
                <a:gd name="T41" fmla="*/ 25 h 204"/>
                <a:gd name="T42" fmla="*/ 34 w 204"/>
                <a:gd name="T43" fmla="*/ 25 h 204"/>
                <a:gd name="T44" fmla="*/ 25 w 204"/>
                <a:gd name="T45" fmla="*/ 34 h 204"/>
                <a:gd name="T46" fmla="*/ 25 w 204"/>
                <a:gd name="T47" fmla="*/ 43 h 204"/>
                <a:gd name="T48" fmla="*/ 39 w 204"/>
                <a:gd name="T49" fmla="*/ 58 h 204"/>
                <a:gd name="T50" fmla="*/ 26 w 204"/>
                <a:gd name="T51" fmla="*/ 89 h 204"/>
                <a:gd name="T52" fmla="*/ 6 w 204"/>
                <a:gd name="T53" fmla="*/ 89 h 204"/>
                <a:gd name="T54" fmla="*/ 0 w 204"/>
                <a:gd name="T55" fmla="*/ 96 h 204"/>
                <a:gd name="T56" fmla="*/ 0 w 204"/>
                <a:gd name="T57" fmla="*/ 108 h 204"/>
                <a:gd name="T58" fmla="*/ 6 w 204"/>
                <a:gd name="T59" fmla="*/ 115 h 204"/>
                <a:gd name="T60" fmla="*/ 26 w 204"/>
                <a:gd name="T61" fmla="*/ 115 h 204"/>
                <a:gd name="T62" fmla="*/ 39 w 204"/>
                <a:gd name="T63" fmla="*/ 146 h 204"/>
                <a:gd name="T64" fmla="*/ 25 w 204"/>
                <a:gd name="T65" fmla="*/ 161 h 204"/>
                <a:gd name="T66" fmla="*/ 25 w 204"/>
                <a:gd name="T67" fmla="*/ 170 h 204"/>
                <a:gd name="T68" fmla="*/ 34 w 204"/>
                <a:gd name="T69" fmla="*/ 179 h 204"/>
                <a:gd name="T70" fmla="*/ 43 w 204"/>
                <a:gd name="T71" fmla="*/ 179 h 204"/>
                <a:gd name="T72" fmla="*/ 58 w 204"/>
                <a:gd name="T73" fmla="*/ 165 h 204"/>
                <a:gd name="T74" fmla="*/ 89 w 204"/>
                <a:gd name="T75" fmla="*/ 178 h 204"/>
                <a:gd name="T76" fmla="*/ 89 w 204"/>
                <a:gd name="T77" fmla="*/ 198 h 204"/>
                <a:gd name="T78" fmla="*/ 96 w 204"/>
                <a:gd name="T79" fmla="*/ 204 h 204"/>
                <a:gd name="T80" fmla="*/ 108 w 204"/>
                <a:gd name="T81" fmla="*/ 204 h 204"/>
                <a:gd name="T82" fmla="*/ 115 w 204"/>
                <a:gd name="T83" fmla="*/ 198 h 204"/>
                <a:gd name="T84" fmla="*/ 115 w 204"/>
                <a:gd name="T85" fmla="*/ 178 h 204"/>
                <a:gd name="T86" fmla="*/ 146 w 204"/>
                <a:gd name="T87" fmla="*/ 165 h 204"/>
                <a:gd name="T88" fmla="*/ 161 w 204"/>
                <a:gd name="T89" fmla="*/ 179 h 204"/>
                <a:gd name="T90" fmla="*/ 170 w 204"/>
                <a:gd name="T91" fmla="*/ 179 h 204"/>
                <a:gd name="T92" fmla="*/ 179 w 204"/>
                <a:gd name="T93" fmla="*/ 170 h 204"/>
                <a:gd name="T94" fmla="*/ 179 w 204"/>
                <a:gd name="T95" fmla="*/ 161 h 204"/>
                <a:gd name="T96" fmla="*/ 165 w 204"/>
                <a:gd name="T97" fmla="*/ 146 h 204"/>
                <a:gd name="T98" fmla="*/ 178 w 204"/>
                <a:gd name="T99" fmla="*/ 115 h 204"/>
                <a:gd name="T100" fmla="*/ 198 w 204"/>
                <a:gd name="T101" fmla="*/ 115 h 204"/>
                <a:gd name="T102" fmla="*/ 204 w 204"/>
                <a:gd name="T103" fmla="*/ 108 h 204"/>
                <a:gd name="T104" fmla="*/ 204 w 204"/>
                <a:gd name="T105" fmla="*/ 96 h 204"/>
                <a:gd name="T106" fmla="*/ 198 w 204"/>
                <a:gd name="T107" fmla="*/ 89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" h="204">
                  <a:moveTo>
                    <a:pt x="102" y="160"/>
                  </a:moveTo>
                  <a:cubicBezTo>
                    <a:pt x="70" y="160"/>
                    <a:pt x="44" y="134"/>
                    <a:pt x="44" y="102"/>
                  </a:cubicBezTo>
                  <a:cubicBezTo>
                    <a:pt x="44" y="71"/>
                    <a:pt x="70" y="44"/>
                    <a:pt x="102" y="44"/>
                  </a:cubicBezTo>
                  <a:cubicBezTo>
                    <a:pt x="134" y="44"/>
                    <a:pt x="160" y="70"/>
                    <a:pt x="160" y="102"/>
                  </a:cubicBezTo>
                  <a:cubicBezTo>
                    <a:pt x="160" y="133"/>
                    <a:pt x="134" y="160"/>
                    <a:pt x="102" y="160"/>
                  </a:cubicBezTo>
                  <a:close/>
                  <a:moveTo>
                    <a:pt x="198" y="89"/>
                  </a:moveTo>
                  <a:cubicBezTo>
                    <a:pt x="178" y="89"/>
                    <a:pt x="178" y="89"/>
                    <a:pt x="178" y="89"/>
                  </a:cubicBezTo>
                  <a:cubicBezTo>
                    <a:pt x="176" y="78"/>
                    <a:pt x="171" y="67"/>
                    <a:pt x="165" y="58"/>
                  </a:cubicBezTo>
                  <a:cubicBezTo>
                    <a:pt x="179" y="43"/>
                    <a:pt x="179" y="43"/>
                    <a:pt x="179" y="43"/>
                  </a:cubicBezTo>
                  <a:cubicBezTo>
                    <a:pt x="181" y="41"/>
                    <a:pt x="181" y="37"/>
                    <a:pt x="179" y="34"/>
                  </a:cubicBezTo>
                  <a:cubicBezTo>
                    <a:pt x="170" y="25"/>
                    <a:pt x="170" y="25"/>
                    <a:pt x="170" y="25"/>
                  </a:cubicBezTo>
                  <a:cubicBezTo>
                    <a:pt x="167" y="23"/>
                    <a:pt x="163" y="23"/>
                    <a:pt x="161" y="25"/>
                  </a:cubicBezTo>
                  <a:cubicBezTo>
                    <a:pt x="146" y="39"/>
                    <a:pt x="146" y="39"/>
                    <a:pt x="146" y="39"/>
                  </a:cubicBezTo>
                  <a:cubicBezTo>
                    <a:pt x="137" y="33"/>
                    <a:pt x="126" y="28"/>
                    <a:pt x="115" y="26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2"/>
                    <a:pt x="112" y="0"/>
                    <a:pt x="10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89" y="2"/>
                    <a:pt x="89" y="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78" y="28"/>
                    <a:pt x="67" y="33"/>
                    <a:pt x="58" y="39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1" y="23"/>
                    <a:pt x="37" y="23"/>
                    <a:pt x="34" y="25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3" y="37"/>
                    <a:pt x="23" y="41"/>
                    <a:pt x="25" y="43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3" y="67"/>
                    <a:pt x="28" y="78"/>
                    <a:pt x="2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2" y="89"/>
                    <a:pt x="0" y="92"/>
                    <a:pt x="0" y="96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12"/>
                    <a:pt x="2" y="115"/>
                    <a:pt x="6" y="115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28" y="126"/>
                    <a:pt x="33" y="137"/>
                    <a:pt x="39" y="146"/>
                  </a:cubicBezTo>
                  <a:cubicBezTo>
                    <a:pt x="25" y="161"/>
                    <a:pt x="25" y="161"/>
                    <a:pt x="25" y="161"/>
                  </a:cubicBezTo>
                  <a:cubicBezTo>
                    <a:pt x="23" y="163"/>
                    <a:pt x="23" y="167"/>
                    <a:pt x="25" y="170"/>
                  </a:cubicBezTo>
                  <a:cubicBezTo>
                    <a:pt x="34" y="179"/>
                    <a:pt x="34" y="179"/>
                    <a:pt x="34" y="179"/>
                  </a:cubicBezTo>
                  <a:cubicBezTo>
                    <a:pt x="37" y="181"/>
                    <a:pt x="41" y="181"/>
                    <a:pt x="43" y="179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67" y="171"/>
                    <a:pt x="78" y="176"/>
                    <a:pt x="89" y="178"/>
                  </a:cubicBezTo>
                  <a:cubicBezTo>
                    <a:pt x="89" y="198"/>
                    <a:pt x="89" y="198"/>
                    <a:pt x="89" y="198"/>
                  </a:cubicBezTo>
                  <a:cubicBezTo>
                    <a:pt x="89" y="202"/>
                    <a:pt x="92" y="204"/>
                    <a:pt x="96" y="204"/>
                  </a:cubicBezTo>
                  <a:cubicBezTo>
                    <a:pt x="108" y="204"/>
                    <a:pt x="108" y="204"/>
                    <a:pt x="108" y="204"/>
                  </a:cubicBezTo>
                  <a:cubicBezTo>
                    <a:pt x="112" y="204"/>
                    <a:pt x="115" y="202"/>
                    <a:pt x="115" y="198"/>
                  </a:cubicBezTo>
                  <a:cubicBezTo>
                    <a:pt x="115" y="178"/>
                    <a:pt x="115" y="178"/>
                    <a:pt x="115" y="178"/>
                  </a:cubicBezTo>
                  <a:cubicBezTo>
                    <a:pt x="126" y="176"/>
                    <a:pt x="137" y="171"/>
                    <a:pt x="146" y="165"/>
                  </a:cubicBezTo>
                  <a:cubicBezTo>
                    <a:pt x="161" y="179"/>
                    <a:pt x="161" y="179"/>
                    <a:pt x="161" y="179"/>
                  </a:cubicBezTo>
                  <a:cubicBezTo>
                    <a:pt x="163" y="181"/>
                    <a:pt x="167" y="181"/>
                    <a:pt x="170" y="179"/>
                  </a:cubicBezTo>
                  <a:cubicBezTo>
                    <a:pt x="179" y="170"/>
                    <a:pt x="179" y="170"/>
                    <a:pt x="179" y="170"/>
                  </a:cubicBezTo>
                  <a:cubicBezTo>
                    <a:pt x="181" y="167"/>
                    <a:pt x="181" y="163"/>
                    <a:pt x="179" y="161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71" y="137"/>
                    <a:pt x="176" y="126"/>
                    <a:pt x="178" y="115"/>
                  </a:cubicBezTo>
                  <a:cubicBezTo>
                    <a:pt x="198" y="115"/>
                    <a:pt x="198" y="115"/>
                    <a:pt x="198" y="115"/>
                  </a:cubicBezTo>
                  <a:cubicBezTo>
                    <a:pt x="202" y="115"/>
                    <a:pt x="204" y="112"/>
                    <a:pt x="204" y="108"/>
                  </a:cubicBezTo>
                  <a:cubicBezTo>
                    <a:pt x="204" y="96"/>
                    <a:pt x="204" y="96"/>
                    <a:pt x="204" y="96"/>
                  </a:cubicBezTo>
                  <a:cubicBezTo>
                    <a:pt x="204" y="92"/>
                    <a:pt x="202" y="89"/>
                    <a:pt x="198" y="89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118">
              <a:extLst>
                <a:ext uri="{FF2B5EF4-FFF2-40B4-BE49-F238E27FC236}">
                  <a16:creationId xmlns:a16="http://schemas.microsoft.com/office/drawing/2014/main" id="{6811A871-FFCE-44F1-A3AF-7C8E10BBB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4888" y="2216150"/>
              <a:ext cx="658812" cy="658813"/>
            </a:xfrm>
            <a:custGeom>
              <a:avLst/>
              <a:gdLst>
                <a:gd name="T0" fmla="*/ 161 w 174"/>
                <a:gd name="T1" fmla="*/ 25 h 174"/>
                <a:gd name="T2" fmla="*/ 146 w 174"/>
                <a:gd name="T3" fmla="*/ 39 h 174"/>
                <a:gd name="T4" fmla="*/ 115 w 174"/>
                <a:gd name="T5" fmla="*/ 26 h 174"/>
                <a:gd name="T6" fmla="*/ 115 w 174"/>
                <a:gd name="T7" fmla="*/ 6 h 174"/>
                <a:gd name="T8" fmla="*/ 108 w 174"/>
                <a:gd name="T9" fmla="*/ 0 h 174"/>
                <a:gd name="T10" fmla="*/ 96 w 174"/>
                <a:gd name="T11" fmla="*/ 0 h 174"/>
                <a:gd name="T12" fmla="*/ 89 w 174"/>
                <a:gd name="T13" fmla="*/ 6 h 174"/>
                <a:gd name="T14" fmla="*/ 89 w 174"/>
                <a:gd name="T15" fmla="*/ 26 h 174"/>
                <a:gd name="T16" fmla="*/ 58 w 174"/>
                <a:gd name="T17" fmla="*/ 39 h 174"/>
                <a:gd name="T18" fmla="*/ 43 w 174"/>
                <a:gd name="T19" fmla="*/ 25 h 174"/>
                <a:gd name="T20" fmla="*/ 34 w 174"/>
                <a:gd name="T21" fmla="*/ 25 h 174"/>
                <a:gd name="T22" fmla="*/ 25 w 174"/>
                <a:gd name="T23" fmla="*/ 34 h 174"/>
                <a:gd name="T24" fmla="*/ 25 w 174"/>
                <a:gd name="T25" fmla="*/ 43 h 174"/>
                <a:gd name="T26" fmla="*/ 39 w 174"/>
                <a:gd name="T27" fmla="*/ 58 h 174"/>
                <a:gd name="T28" fmla="*/ 26 w 174"/>
                <a:gd name="T29" fmla="*/ 89 h 174"/>
                <a:gd name="T30" fmla="*/ 6 w 174"/>
                <a:gd name="T31" fmla="*/ 89 h 174"/>
                <a:gd name="T32" fmla="*/ 0 w 174"/>
                <a:gd name="T33" fmla="*/ 96 h 174"/>
                <a:gd name="T34" fmla="*/ 0 w 174"/>
                <a:gd name="T35" fmla="*/ 108 h 174"/>
                <a:gd name="T36" fmla="*/ 6 w 174"/>
                <a:gd name="T37" fmla="*/ 115 h 174"/>
                <a:gd name="T38" fmla="*/ 26 w 174"/>
                <a:gd name="T39" fmla="*/ 115 h 174"/>
                <a:gd name="T40" fmla="*/ 39 w 174"/>
                <a:gd name="T41" fmla="*/ 146 h 174"/>
                <a:gd name="T42" fmla="*/ 25 w 174"/>
                <a:gd name="T43" fmla="*/ 161 h 174"/>
                <a:gd name="T44" fmla="*/ 25 w 174"/>
                <a:gd name="T45" fmla="*/ 170 h 174"/>
                <a:gd name="T46" fmla="*/ 30 w 174"/>
                <a:gd name="T47" fmla="*/ 174 h 174"/>
                <a:gd name="T48" fmla="*/ 61 w 174"/>
                <a:gd name="T49" fmla="*/ 143 h 174"/>
                <a:gd name="T50" fmla="*/ 44 w 174"/>
                <a:gd name="T51" fmla="*/ 102 h 174"/>
                <a:gd name="T52" fmla="*/ 102 w 174"/>
                <a:gd name="T53" fmla="*/ 44 h 174"/>
                <a:gd name="T54" fmla="*/ 143 w 174"/>
                <a:gd name="T55" fmla="*/ 61 h 174"/>
                <a:gd name="T56" fmla="*/ 174 w 174"/>
                <a:gd name="T57" fmla="*/ 29 h 174"/>
                <a:gd name="T58" fmla="*/ 170 w 174"/>
                <a:gd name="T59" fmla="*/ 25 h 174"/>
                <a:gd name="T60" fmla="*/ 161 w 174"/>
                <a:gd name="T61" fmla="*/ 2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4" h="174">
                  <a:moveTo>
                    <a:pt x="161" y="25"/>
                  </a:moveTo>
                  <a:cubicBezTo>
                    <a:pt x="146" y="39"/>
                    <a:pt x="146" y="39"/>
                    <a:pt x="146" y="39"/>
                  </a:cubicBezTo>
                  <a:cubicBezTo>
                    <a:pt x="137" y="33"/>
                    <a:pt x="126" y="28"/>
                    <a:pt x="115" y="26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2"/>
                    <a:pt x="112" y="0"/>
                    <a:pt x="10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89" y="2"/>
                    <a:pt x="89" y="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78" y="28"/>
                    <a:pt x="67" y="33"/>
                    <a:pt x="58" y="39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1" y="23"/>
                    <a:pt x="37" y="23"/>
                    <a:pt x="34" y="25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3" y="37"/>
                    <a:pt x="23" y="41"/>
                    <a:pt x="25" y="43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3" y="67"/>
                    <a:pt x="28" y="78"/>
                    <a:pt x="2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2" y="89"/>
                    <a:pt x="0" y="92"/>
                    <a:pt x="0" y="96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12"/>
                    <a:pt x="2" y="115"/>
                    <a:pt x="6" y="115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28" y="126"/>
                    <a:pt x="33" y="137"/>
                    <a:pt x="39" y="146"/>
                  </a:cubicBezTo>
                  <a:cubicBezTo>
                    <a:pt x="25" y="161"/>
                    <a:pt x="25" y="161"/>
                    <a:pt x="25" y="161"/>
                  </a:cubicBezTo>
                  <a:cubicBezTo>
                    <a:pt x="23" y="163"/>
                    <a:pt x="23" y="167"/>
                    <a:pt x="25" y="170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61" y="143"/>
                    <a:pt x="61" y="143"/>
                    <a:pt x="61" y="143"/>
                  </a:cubicBezTo>
                  <a:cubicBezTo>
                    <a:pt x="51" y="132"/>
                    <a:pt x="44" y="118"/>
                    <a:pt x="44" y="102"/>
                  </a:cubicBezTo>
                  <a:cubicBezTo>
                    <a:pt x="44" y="71"/>
                    <a:pt x="70" y="44"/>
                    <a:pt x="102" y="44"/>
                  </a:cubicBezTo>
                  <a:cubicBezTo>
                    <a:pt x="118" y="44"/>
                    <a:pt x="132" y="51"/>
                    <a:pt x="143" y="61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70" y="25"/>
                    <a:pt x="170" y="25"/>
                    <a:pt x="170" y="25"/>
                  </a:cubicBezTo>
                  <a:cubicBezTo>
                    <a:pt x="167" y="23"/>
                    <a:pt x="163" y="23"/>
                    <a:pt x="161" y="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119">
              <a:extLst>
                <a:ext uri="{FF2B5EF4-FFF2-40B4-BE49-F238E27FC236}">
                  <a16:creationId xmlns:a16="http://schemas.microsoft.com/office/drawing/2014/main" id="{63B8E4B9-7F3A-4DE8-9723-E465DD188D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1575" y="2382838"/>
              <a:ext cx="439737" cy="439738"/>
            </a:xfrm>
            <a:custGeom>
              <a:avLst/>
              <a:gdLst>
                <a:gd name="T0" fmla="*/ 58 w 116"/>
                <a:gd name="T1" fmla="*/ 96 h 116"/>
                <a:gd name="T2" fmla="*/ 20 w 116"/>
                <a:gd name="T3" fmla="*/ 58 h 116"/>
                <a:gd name="T4" fmla="*/ 58 w 116"/>
                <a:gd name="T5" fmla="*/ 20 h 116"/>
                <a:gd name="T6" fmla="*/ 96 w 116"/>
                <a:gd name="T7" fmla="*/ 58 h 116"/>
                <a:gd name="T8" fmla="*/ 58 w 116"/>
                <a:gd name="T9" fmla="*/ 96 h 116"/>
                <a:gd name="T10" fmla="*/ 58 w 116"/>
                <a:gd name="T11" fmla="*/ 0 h 116"/>
                <a:gd name="T12" fmla="*/ 0 w 116"/>
                <a:gd name="T13" fmla="*/ 58 h 116"/>
                <a:gd name="T14" fmla="*/ 58 w 116"/>
                <a:gd name="T15" fmla="*/ 116 h 116"/>
                <a:gd name="T16" fmla="*/ 116 w 116"/>
                <a:gd name="T17" fmla="*/ 58 h 116"/>
                <a:gd name="T18" fmla="*/ 58 w 116"/>
                <a:gd name="T1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16">
                  <a:moveTo>
                    <a:pt x="58" y="96"/>
                  </a:moveTo>
                  <a:cubicBezTo>
                    <a:pt x="37" y="96"/>
                    <a:pt x="20" y="79"/>
                    <a:pt x="20" y="58"/>
                  </a:cubicBezTo>
                  <a:cubicBezTo>
                    <a:pt x="20" y="37"/>
                    <a:pt x="37" y="20"/>
                    <a:pt x="58" y="20"/>
                  </a:cubicBezTo>
                  <a:cubicBezTo>
                    <a:pt x="79" y="20"/>
                    <a:pt x="96" y="37"/>
                    <a:pt x="96" y="58"/>
                  </a:cubicBezTo>
                  <a:cubicBezTo>
                    <a:pt x="96" y="79"/>
                    <a:pt x="79" y="96"/>
                    <a:pt x="58" y="96"/>
                  </a:cubicBezTo>
                  <a:close/>
                  <a:moveTo>
                    <a:pt x="58" y="0"/>
                  </a:move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0" y="116"/>
                    <a:pt x="116" y="90"/>
                    <a:pt x="116" y="58"/>
                  </a:cubicBezTo>
                  <a:cubicBezTo>
                    <a:pt x="116" y="26"/>
                    <a:pt x="90" y="0"/>
                    <a:pt x="58" y="0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Freeform 120">
              <a:extLst>
                <a:ext uri="{FF2B5EF4-FFF2-40B4-BE49-F238E27FC236}">
                  <a16:creationId xmlns:a16="http://schemas.microsoft.com/office/drawing/2014/main" id="{D80DCBB8-7FE3-4964-AC81-60B2C8EC7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1575" y="2382838"/>
              <a:ext cx="374650" cy="374650"/>
            </a:xfrm>
            <a:custGeom>
              <a:avLst/>
              <a:gdLst>
                <a:gd name="T0" fmla="*/ 58 w 99"/>
                <a:gd name="T1" fmla="*/ 0 h 99"/>
                <a:gd name="T2" fmla="*/ 0 w 99"/>
                <a:gd name="T3" fmla="*/ 58 h 99"/>
                <a:gd name="T4" fmla="*/ 17 w 99"/>
                <a:gd name="T5" fmla="*/ 99 h 99"/>
                <a:gd name="T6" fmla="*/ 31 w 99"/>
                <a:gd name="T7" fmla="*/ 85 h 99"/>
                <a:gd name="T8" fmla="*/ 20 w 99"/>
                <a:gd name="T9" fmla="*/ 58 h 99"/>
                <a:gd name="T10" fmla="*/ 58 w 99"/>
                <a:gd name="T11" fmla="*/ 20 h 99"/>
                <a:gd name="T12" fmla="*/ 85 w 99"/>
                <a:gd name="T13" fmla="*/ 31 h 99"/>
                <a:gd name="T14" fmla="*/ 99 w 99"/>
                <a:gd name="T15" fmla="*/ 17 h 99"/>
                <a:gd name="T16" fmla="*/ 58 w 99"/>
                <a:gd name="T17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99">
                  <a:moveTo>
                    <a:pt x="58" y="0"/>
                  </a:moveTo>
                  <a:cubicBezTo>
                    <a:pt x="26" y="0"/>
                    <a:pt x="0" y="26"/>
                    <a:pt x="0" y="58"/>
                  </a:cubicBezTo>
                  <a:cubicBezTo>
                    <a:pt x="0" y="74"/>
                    <a:pt x="7" y="88"/>
                    <a:pt x="17" y="99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24" y="78"/>
                    <a:pt x="20" y="69"/>
                    <a:pt x="20" y="58"/>
                  </a:cubicBezTo>
                  <a:cubicBezTo>
                    <a:pt x="20" y="37"/>
                    <a:pt x="37" y="20"/>
                    <a:pt x="58" y="20"/>
                  </a:cubicBezTo>
                  <a:cubicBezTo>
                    <a:pt x="69" y="20"/>
                    <a:pt x="78" y="24"/>
                    <a:pt x="85" y="31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88" y="7"/>
                    <a:pt x="74" y="0"/>
                    <a:pt x="58" y="0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121">
              <a:extLst>
                <a:ext uri="{FF2B5EF4-FFF2-40B4-BE49-F238E27FC236}">
                  <a16:creationId xmlns:a16="http://schemas.microsoft.com/office/drawing/2014/main" id="{FDAC3FB3-347D-4390-96C5-EB6BF70E45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7775" y="2459038"/>
              <a:ext cx="287337" cy="287338"/>
            </a:xfrm>
            <a:custGeom>
              <a:avLst/>
              <a:gdLst>
                <a:gd name="T0" fmla="*/ 38 w 76"/>
                <a:gd name="T1" fmla="*/ 64 h 76"/>
                <a:gd name="T2" fmla="*/ 12 w 76"/>
                <a:gd name="T3" fmla="*/ 38 h 76"/>
                <a:gd name="T4" fmla="*/ 38 w 76"/>
                <a:gd name="T5" fmla="*/ 12 h 76"/>
                <a:gd name="T6" fmla="*/ 64 w 76"/>
                <a:gd name="T7" fmla="*/ 38 h 76"/>
                <a:gd name="T8" fmla="*/ 38 w 76"/>
                <a:gd name="T9" fmla="*/ 64 h 76"/>
                <a:gd name="T10" fmla="*/ 38 w 76"/>
                <a:gd name="T11" fmla="*/ 0 h 76"/>
                <a:gd name="T12" fmla="*/ 0 w 76"/>
                <a:gd name="T13" fmla="*/ 38 h 76"/>
                <a:gd name="T14" fmla="*/ 38 w 76"/>
                <a:gd name="T15" fmla="*/ 76 h 76"/>
                <a:gd name="T16" fmla="*/ 76 w 76"/>
                <a:gd name="T17" fmla="*/ 38 h 76"/>
                <a:gd name="T18" fmla="*/ 38 w 76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76">
                  <a:moveTo>
                    <a:pt x="38" y="64"/>
                  </a:moveTo>
                  <a:cubicBezTo>
                    <a:pt x="24" y="64"/>
                    <a:pt x="12" y="52"/>
                    <a:pt x="12" y="38"/>
                  </a:cubicBezTo>
                  <a:cubicBezTo>
                    <a:pt x="12" y="24"/>
                    <a:pt x="24" y="12"/>
                    <a:pt x="38" y="12"/>
                  </a:cubicBezTo>
                  <a:cubicBezTo>
                    <a:pt x="52" y="12"/>
                    <a:pt x="64" y="24"/>
                    <a:pt x="64" y="38"/>
                  </a:cubicBezTo>
                  <a:cubicBezTo>
                    <a:pt x="64" y="52"/>
                    <a:pt x="52" y="64"/>
                    <a:pt x="38" y="64"/>
                  </a:cubicBezTo>
                  <a:close/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ubicBezTo>
                    <a:pt x="76" y="17"/>
                    <a:pt x="59" y="0"/>
                    <a:pt x="38" y="0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122">
              <a:extLst>
                <a:ext uri="{FF2B5EF4-FFF2-40B4-BE49-F238E27FC236}">
                  <a16:creationId xmlns:a16="http://schemas.microsoft.com/office/drawing/2014/main" id="{AA745798-79F7-421C-A70C-0343FA96B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7775" y="2459038"/>
              <a:ext cx="246062" cy="246063"/>
            </a:xfrm>
            <a:custGeom>
              <a:avLst/>
              <a:gdLst>
                <a:gd name="T0" fmla="*/ 38 w 65"/>
                <a:gd name="T1" fmla="*/ 0 h 65"/>
                <a:gd name="T2" fmla="*/ 0 w 65"/>
                <a:gd name="T3" fmla="*/ 38 h 65"/>
                <a:gd name="T4" fmla="*/ 11 w 65"/>
                <a:gd name="T5" fmla="*/ 65 h 65"/>
                <a:gd name="T6" fmla="*/ 20 w 65"/>
                <a:gd name="T7" fmla="*/ 56 h 65"/>
                <a:gd name="T8" fmla="*/ 12 w 65"/>
                <a:gd name="T9" fmla="*/ 38 h 65"/>
                <a:gd name="T10" fmla="*/ 38 w 65"/>
                <a:gd name="T11" fmla="*/ 12 h 65"/>
                <a:gd name="T12" fmla="*/ 56 w 65"/>
                <a:gd name="T13" fmla="*/ 20 h 65"/>
                <a:gd name="T14" fmla="*/ 65 w 65"/>
                <a:gd name="T15" fmla="*/ 11 h 65"/>
                <a:gd name="T16" fmla="*/ 38 w 65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65"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49"/>
                    <a:pt x="4" y="58"/>
                    <a:pt x="11" y="65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5" y="51"/>
                    <a:pt x="12" y="45"/>
                    <a:pt x="12" y="38"/>
                  </a:cubicBezTo>
                  <a:cubicBezTo>
                    <a:pt x="12" y="24"/>
                    <a:pt x="24" y="12"/>
                    <a:pt x="38" y="12"/>
                  </a:cubicBezTo>
                  <a:cubicBezTo>
                    <a:pt x="45" y="12"/>
                    <a:pt x="51" y="15"/>
                    <a:pt x="56" y="20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6" name="Title 1">
            <a:extLst>
              <a:ext uri="{FF2B5EF4-FFF2-40B4-BE49-F238E27FC236}">
                <a16:creationId xmlns:a16="http://schemas.microsoft.com/office/drawing/2014/main" id="{81C6A724-0FB4-4D8E-99FB-28A176D6CD9F}"/>
              </a:ext>
            </a:extLst>
          </p:cNvPr>
          <p:cNvSpPr txBox="1">
            <a:spLocks/>
          </p:cNvSpPr>
          <p:nvPr/>
        </p:nvSpPr>
        <p:spPr>
          <a:xfrm>
            <a:off x="6233973" y="3634740"/>
            <a:ext cx="1493671" cy="20175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dentify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reas we can improve and act on our own </a:t>
            </a: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07DB6CF9-2821-494E-8A5D-14146280FE23}"/>
              </a:ext>
            </a:extLst>
          </p:cNvPr>
          <p:cNvSpPr txBox="1">
            <a:spLocks/>
          </p:cNvSpPr>
          <p:nvPr/>
        </p:nvSpPr>
        <p:spPr>
          <a:xfrm>
            <a:off x="8119750" y="3634740"/>
            <a:ext cx="1493671" cy="20175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llect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nfo on areas we want help improving</a:t>
            </a: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8DE727F1-8EF1-45DC-822E-56C2113332A5}"/>
              </a:ext>
            </a:extLst>
          </p:cNvPr>
          <p:cNvSpPr txBox="1">
            <a:spLocks/>
          </p:cNvSpPr>
          <p:nvPr/>
        </p:nvSpPr>
        <p:spPr>
          <a:xfrm>
            <a:off x="10005527" y="3634740"/>
            <a:ext cx="1493671" cy="20175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eas we can 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prove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with admins and developers</a:t>
            </a:r>
          </a:p>
        </p:txBody>
      </p:sp>
      <p:sp>
        <p:nvSpPr>
          <p:cNvPr id="89" name="Freeform 46">
            <a:extLst>
              <a:ext uri="{FF2B5EF4-FFF2-40B4-BE49-F238E27FC236}">
                <a16:creationId xmlns:a16="http://schemas.microsoft.com/office/drawing/2014/main" id="{2B479856-F765-422E-A616-FADA65D982D6}"/>
              </a:ext>
            </a:extLst>
          </p:cNvPr>
          <p:cNvSpPr/>
          <p:nvPr/>
        </p:nvSpPr>
        <p:spPr>
          <a:xfrm>
            <a:off x="6438460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0" name="Freeform 46">
            <a:extLst>
              <a:ext uri="{FF2B5EF4-FFF2-40B4-BE49-F238E27FC236}">
                <a16:creationId xmlns:a16="http://schemas.microsoft.com/office/drawing/2014/main" id="{9EB3B54E-4E49-4BE4-AB11-6C98799D2A2D}"/>
              </a:ext>
            </a:extLst>
          </p:cNvPr>
          <p:cNvSpPr/>
          <p:nvPr/>
        </p:nvSpPr>
        <p:spPr>
          <a:xfrm>
            <a:off x="8324237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1" name="Freeform 46">
            <a:extLst>
              <a:ext uri="{FF2B5EF4-FFF2-40B4-BE49-F238E27FC236}">
                <a16:creationId xmlns:a16="http://schemas.microsoft.com/office/drawing/2014/main" id="{4A9A4972-D060-43D5-9967-ECB37C1C446D}"/>
              </a:ext>
            </a:extLst>
          </p:cNvPr>
          <p:cNvSpPr/>
          <p:nvPr/>
        </p:nvSpPr>
        <p:spPr>
          <a:xfrm>
            <a:off x="10210014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3" name="任意多边形: 形状 16">
            <a:extLst>
              <a:ext uri="{FF2B5EF4-FFF2-40B4-BE49-F238E27FC236}">
                <a16:creationId xmlns:a16="http://schemas.microsoft.com/office/drawing/2014/main" id="{D77BCD6D-3CA3-4FBA-AE6F-8FFE7AB82299}"/>
              </a:ext>
            </a:extLst>
          </p:cNvPr>
          <p:cNvSpPr/>
          <p:nvPr/>
        </p:nvSpPr>
        <p:spPr>
          <a:xfrm>
            <a:off x="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任意多边形: 形状 16">
            <a:extLst>
              <a:ext uri="{FF2B5EF4-FFF2-40B4-BE49-F238E27FC236}">
                <a16:creationId xmlns:a16="http://schemas.microsoft.com/office/drawing/2014/main" id="{DB50D6CE-7287-442B-B6AF-EAFB69B0C72D}"/>
              </a:ext>
            </a:extLst>
          </p:cNvPr>
          <p:cNvSpPr/>
          <p:nvPr/>
        </p:nvSpPr>
        <p:spPr>
          <a:xfrm>
            <a:off x="27241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任意多边形: 形状 16">
            <a:extLst>
              <a:ext uri="{FF2B5EF4-FFF2-40B4-BE49-F238E27FC236}">
                <a16:creationId xmlns:a16="http://schemas.microsoft.com/office/drawing/2014/main" id="{DA15B47E-2C18-48FE-8019-64213F8B312A}"/>
              </a:ext>
            </a:extLst>
          </p:cNvPr>
          <p:cNvSpPr/>
          <p:nvPr/>
        </p:nvSpPr>
        <p:spPr>
          <a:xfrm>
            <a:off x="54673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任意多边形: 形状 16">
            <a:extLst>
              <a:ext uri="{FF2B5EF4-FFF2-40B4-BE49-F238E27FC236}">
                <a16:creationId xmlns:a16="http://schemas.microsoft.com/office/drawing/2014/main" id="{26E91692-B844-4275-9982-FDA757730759}"/>
              </a:ext>
            </a:extLst>
          </p:cNvPr>
          <p:cNvSpPr/>
          <p:nvPr/>
        </p:nvSpPr>
        <p:spPr>
          <a:xfrm>
            <a:off x="81724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A5629178-9537-4CD9-B8A6-5A072269BDD9}"/>
              </a:ext>
            </a:extLst>
          </p:cNvPr>
          <p:cNvSpPr/>
          <p:nvPr/>
        </p:nvSpPr>
        <p:spPr>
          <a:xfrm>
            <a:off x="10915650" y="6462914"/>
            <a:ext cx="1276350" cy="464457"/>
          </a:xfrm>
          <a:custGeom>
            <a:avLst/>
            <a:gdLst>
              <a:gd name="connsiteX0" fmla="*/ 97047 w 1276350"/>
              <a:gd name="connsiteY0" fmla="*/ 0 h 464457"/>
              <a:gd name="connsiteX1" fmla="*/ 358828 w 1276350"/>
              <a:gd name="connsiteY1" fmla="*/ 0 h 464457"/>
              <a:gd name="connsiteX2" fmla="*/ 358828 w 1276350"/>
              <a:gd name="connsiteY2" fmla="*/ 111250 h 464457"/>
              <a:gd name="connsiteX3" fmla="*/ 554462 w 1276350"/>
              <a:gd name="connsiteY3" fmla="*/ 111250 h 464457"/>
              <a:gd name="connsiteX4" fmla="*/ 554462 w 1276350"/>
              <a:gd name="connsiteY4" fmla="*/ 0 h 464457"/>
              <a:gd name="connsiteX5" fmla="*/ 816244 w 1276350"/>
              <a:gd name="connsiteY5" fmla="*/ 0 h 464457"/>
              <a:gd name="connsiteX6" fmla="*/ 816244 w 1276350"/>
              <a:gd name="connsiteY6" fmla="*/ 111250 h 464457"/>
              <a:gd name="connsiteX7" fmla="*/ 1011878 w 1276350"/>
              <a:gd name="connsiteY7" fmla="*/ 111250 h 464457"/>
              <a:gd name="connsiteX8" fmla="*/ 1011878 w 1276350"/>
              <a:gd name="connsiteY8" fmla="*/ 0 h 464457"/>
              <a:gd name="connsiteX9" fmla="*/ 1273659 w 1276350"/>
              <a:gd name="connsiteY9" fmla="*/ 0 h 464457"/>
              <a:gd name="connsiteX10" fmla="*/ 1273659 w 1276350"/>
              <a:gd name="connsiteY10" fmla="*/ 111250 h 464457"/>
              <a:gd name="connsiteX11" fmla="*/ 1276350 w 1276350"/>
              <a:gd name="connsiteY11" fmla="*/ 111250 h 464457"/>
              <a:gd name="connsiteX12" fmla="*/ 1276350 w 1276350"/>
              <a:gd name="connsiteY12" fmla="*/ 464457 h 464457"/>
              <a:gd name="connsiteX13" fmla="*/ 0 w 1276350"/>
              <a:gd name="connsiteY13" fmla="*/ 464457 h 464457"/>
              <a:gd name="connsiteX14" fmla="*/ 0 w 1276350"/>
              <a:gd name="connsiteY14" fmla="*/ 111250 h 464457"/>
              <a:gd name="connsiteX15" fmla="*/ 97047 w 1276350"/>
              <a:gd name="connsiteY15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76350" h="464457">
                <a:moveTo>
                  <a:pt x="97047" y="0"/>
                </a:moveTo>
                <a:lnTo>
                  <a:pt x="358828" y="0"/>
                </a:lnTo>
                <a:lnTo>
                  <a:pt x="358828" y="111250"/>
                </a:lnTo>
                <a:lnTo>
                  <a:pt x="554462" y="111250"/>
                </a:lnTo>
                <a:lnTo>
                  <a:pt x="554462" y="0"/>
                </a:lnTo>
                <a:lnTo>
                  <a:pt x="816244" y="0"/>
                </a:lnTo>
                <a:lnTo>
                  <a:pt x="816244" y="111250"/>
                </a:lnTo>
                <a:lnTo>
                  <a:pt x="1011878" y="111250"/>
                </a:lnTo>
                <a:lnTo>
                  <a:pt x="1011878" y="0"/>
                </a:lnTo>
                <a:lnTo>
                  <a:pt x="1273659" y="0"/>
                </a:lnTo>
                <a:lnTo>
                  <a:pt x="1273659" y="111250"/>
                </a:lnTo>
                <a:lnTo>
                  <a:pt x="1276350" y="111250"/>
                </a:lnTo>
                <a:lnTo>
                  <a:pt x="1276350" y="464457"/>
                </a:lnTo>
                <a:lnTo>
                  <a:pt x="0" y="464457"/>
                </a:lnTo>
                <a:lnTo>
                  <a:pt x="0" y="111250"/>
                </a:lnTo>
                <a:lnTo>
                  <a:pt x="97047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420AC76-9596-4B0C-A95B-0353EDD00DFC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B6C789B-4CA8-45C4-BEF9-5DE898D5025A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Slide Number Placeholder 5">
            <a:extLst>
              <a:ext uri="{FF2B5EF4-FFF2-40B4-BE49-F238E27FC236}">
                <a16:creationId xmlns:a16="http://schemas.microsoft.com/office/drawing/2014/main" id="{C2E5CD9A-ACDF-417B-8034-6B5F025E2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C1F40D5-E6CC-4118-85E2-3EAE57C8C5D7}"/>
              </a:ext>
            </a:extLst>
          </p:cNvPr>
          <p:cNvSpPr/>
          <p:nvPr/>
        </p:nvSpPr>
        <p:spPr>
          <a:xfrm>
            <a:off x="3988196" y="4752553"/>
            <a:ext cx="1068670" cy="1068670"/>
          </a:xfrm>
          <a:prstGeom prst="ellipse">
            <a:avLst/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07853B2-446C-40B9-B03E-4A9CBA9599EB}"/>
              </a:ext>
            </a:extLst>
          </p:cNvPr>
          <p:cNvGrpSpPr/>
          <p:nvPr/>
        </p:nvGrpSpPr>
        <p:grpSpPr>
          <a:xfrm>
            <a:off x="4256556" y="4997059"/>
            <a:ext cx="531950" cy="579659"/>
            <a:chOff x="9742488" y="639763"/>
            <a:chExt cx="7080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5" name="Freeform 59">
              <a:extLst>
                <a:ext uri="{FF2B5EF4-FFF2-40B4-BE49-F238E27FC236}">
                  <a16:creationId xmlns:a16="http://schemas.microsoft.com/office/drawing/2014/main" id="{C543AA61-3247-4354-BE7F-75CB28D58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4288" y="1123951"/>
              <a:ext cx="276225" cy="287338"/>
            </a:xfrm>
            <a:custGeom>
              <a:avLst/>
              <a:gdLst>
                <a:gd name="T0" fmla="*/ 72 w 73"/>
                <a:gd name="T1" fmla="*/ 41 h 76"/>
                <a:gd name="T2" fmla="*/ 44 w 73"/>
                <a:gd name="T3" fmla="*/ 0 h 76"/>
                <a:gd name="T4" fmla="*/ 42 w 73"/>
                <a:gd name="T5" fmla="*/ 2 h 76"/>
                <a:gd name="T6" fmla="*/ 42 w 73"/>
                <a:gd name="T7" fmla="*/ 23 h 76"/>
                <a:gd name="T8" fmla="*/ 21 w 73"/>
                <a:gd name="T9" fmla="*/ 23 h 76"/>
                <a:gd name="T10" fmla="*/ 13 w 73"/>
                <a:gd name="T11" fmla="*/ 42 h 76"/>
                <a:gd name="T12" fmla="*/ 0 w 73"/>
                <a:gd name="T13" fmla="*/ 36 h 76"/>
                <a:gd name="T14" fmla="*/ 25 w 73"/>
                <a:gd name="T15" fmla="*/ 73 h 76"/>
                <a:gd name="T16" fmla="*/ 30 w 73"/>
                <a:gd name="T17" fmla="*/ 75 h 76"/>
                <a:gd name="T18" fmla="*/ 35 w 73"/>
                <a:gd name="T19" fmla="*/ 71 h 76"/>
                <a:gd name="T20" fmla="*/ 41 w 73"/>
                <a:gd name="T21" fmla="*/ 52 h 76"/>
                <a:gd name="T22" fmla="*/ 47 w 73"/>
                <a:gd name="T23" fmla="*/ 48 h 76"/>
                <a:gd name="T24" fmla="*/ 67 w 73"/>
                <a:gd name="T25" fmla="*/ 50 h 76"/>
                <a:gd name="T26" fmla="*/ 72 w 73"/>
                <a:gd name="T27" fmla="*/ 47 h 76"/>
                <a:gd name="T28" fmla="*/ 72 w 73"/>
                <a:gd name="T29" fmla="*/ 4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76">
                  <a:moveTo>
                    <a:pt x="72" y="41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43" y="1"/>
                    <a:pt x="43" y="1"/>
                    <a:pt x="42" y="2"/>
                  </a:cubicBezTo>
                  <a:cubicBezTo>
                    <a:pt x="39" y="7"/>
                    <a:pt x="46" y="19"/>
                    <a:pt x="42" y="23"/>
                  </a:cubicBezTo>
                  <a:cubicBezTo>
                    <a:pt x="38" y="27"/>
                    <a:pt x="26" y="20"/>
                    <a:pt x="21" y="23"/>
                  </a:cubicBezTo>
                  <a:cubicBezTo>
                    <a:pt x="17" y="26"/>
                    <a:pt x="18" y="40"/>
                    <a:pt x="13" y="42"/>
                  </a:cubicBezTo>
                  <a:cubicBezTo>
                    <a:pt x="10" y="43"/>
                    <a:pt x="5" y="39"/>
                    <a:pt x="0" y="36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6" y="75"/>
                    <a:pt x="28" y="76"/>
                    <a:pt x="30" y="75"/>
                  </a:cubicBezTo>
                  <a:cubicBezTo>
                    <a:pt x="32" y="75"/>
                    <a:pt x="34" y="73"/>
                    <a:pt x="35" y="71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2" y="50"/>
                    <a:pt x="44" y="48"/>
                    <a:pt x="47" y="48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9" y="50"/>
                    <a:pt x="71" y="49"/>
                    <a:pt x="72" y="47"/>
                  </a:cubicBezTo>
                  <a:cubicBezTo>
                    <a:pt x="73" y="45"/>
                    <a:pt x="73" y="43"/>
                    <a:pt x="72" y="41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60">
              <a:extLst>
                <a:ext uri="{FF2B5EF4-FFF2-40B4-BE49-F238E27FC236}">
                  <a16:creationId xmlns:a16="http://schemas.microsoft.com/office/drawing/2014/main" id="{C289FE05-8598-4B90-AA3C-D1660CABA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2488" y="1123951"/>
              <a:ext cx="276225" cy="287338"/>
            </a:xfrm>
            <a:custGeom>
              <a:avLst/>
              <a:gdLst>
                <a:gd name="T0" fmla="*/ 60 w 73"/>
                <a:gd name="T1" fmla="*/ 42 h 76"/>
                <a:gd name="T2" fmla="*/ 52 w 73"/>
                <a:gd name="T3" fmla="*/ 23 h 76"/>
                <a:gd name="T4" fmla="*/ 31 w 73"/>
                <a:gd name="T5" fmla="*/ 23 h 76"/>
                <a:gd name="T6" fmla="*/ 31 w 73"/>
                <a:gd name="T7" fmla="*/ 2 h 76"/>
                <a:gd name="T8" fmla="*/ 28 w 73"/>
                <a:gd name="T9" fmla="*/ 0 h 76"/>
                <a:gd name="T10" fmla="*/ 1 w 73"/>
                <a:gd name="T11" fmla="*/ 41 h 76"/>
                <a:gd name="T12" fmla="*/ 1 w 73"/>
                <a:gd name="T13" fmla="*/ 47 h 76"/>
                <a:gd name="T14" fmla="*/ 6 w 73"/>
                <a:gd name="T15" fmla="*/ 50 h 76"/>
                <a:gd name="T16" fmla="*/ 26 w 73"/>
                <a:gd name="T17" fmla="*/ 48 h 76"/>
                <a:gd name="T18" fmla="*/ 32 w 73"/>
                <a:gd name="T19" fmla="*/ 52 h 76"/>
                <a:gd name="T20" fmla="*/ 38 w 73"/>
                <a:gd name="T21" fmla="*/ 71 h 76"/>
                <a:gd name="T22" fmla="*/ 43 w 73"/>
                <a:gd name="T23" fmla="*/ 75 h 76"/>
                <a:gd name="T24" fmla="*/ 48 w 73"/>
                <a:gd name="T25" fmla="*/ 73 h 76"/>
                <a:gd name="T26" fmla="*/ 73 w 73"/>
                <a:gd name="T27" fmla="*/ 36 h 76"/>
                <a:gd name="T28" fmla="*/ 60 w 73"/>
                <a:gd name="T29" fmla="*/ 4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76">
                  <a:moveTo>
                    <a:pt x="60" y="42"/>
                  </a:moveTo>
                  <a:cubicBezTo>
                    <a:pt x="55" y="40"/>
                    <a:pt x="56" y="26"/>
                    <a:pt x="52" y="23"/>
                  </a:cubicBezTo>
                  <a:cubicBezTo>
                    <a:pt x="47" y="20"/>
                    <a:pt x="35" y="27"/>
                    <a:pt x="31" y="23"/>
                  </a:cubicBezTo>
                  <a:cubicBezTo>
                    <a:pt x="27" y="19"/>
                    <a:pt x="34" y="7"/>
                    <a:pt x="31" y="2"/>
                  </a:cubicBezTo>
                  <a:cubicBezTo>
                    <a:pt x="30" y="2"/>
                    <a:pt x="29" y="1"/>
                    <a:pt x="28" y="0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3"/>
                    <a:pt x="0" y="45"/>
                    <a:pt x="1" y="47"/>
                  </a:cubicBezTo>
                  <a:cubicBezTo>
                    <a:pt x="2" y="49"/>
                    <a:pt x="4" y="50"/>
                    <a:pt x="6" y="50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9" y="48"/>
                    <a:pt x="31" y="50"/>
                    <a:pt x="32" y="52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39" y="73"/>
                    <a:pt x="41" y="75"/>
                    <a:pt x="43" y="75"/>
                  </a:cubicBezTo>
                  <a:cubicBezTo>
                    <a:pt x="45" y="76"/>
                    <a:pt x="47" y="75"/>
                    <a:pt x="48" y="73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68" y="39"/>
                    <a:pt x="63" y="44"/>
                    <a:pt x="60" y="42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61">
              <a:extLst>
                <a:ext uri="{FF2B5EF4-FFF2-40B4-BE49-F238E27FC236}">
                  <a16:creationId xmlns:a16="http://schemas.microsoft.com/office/drawing/2014/main" id="{BC067E77-8A08-4F4D-B0A3-8E980041B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1538" y="639763"/>
              <a:ext cx="669925" cy="669925"/>
            </a:xfrm>
            <a:custGeom>
              <a:avLst/>
              <a:gdLst>
                <a:gd name="T0" fmla="*/ 177 w 177"/>
                <a:gd name="T1" fmla="*/ 88 h 177"/>
                <a:gd name="T2" fmla="*/ 162 w 177"/>
                <a:gd name="T3" fmla="*/ 103 h 177"/>
                <a:gd name="T4" fmla="*/ 170 w 177"/>
                <a:gd name="T5" fmla="*/ 122 h 177"/>
                <a:gd name="T6" fmla="*/ 151 w 177"/>
                <a:gd name="T7" fmla="*/ 130 h 177"/>
                <a:gd name="T8" fmla="*/ 151 w 177"/>
                <a:gd name="T9" fmla="*/ 151 h 177"/>
                <a:gd name="T10" fmla="*/ 130 w 177"/>
                <a:gd name="T11" fmla="*/ 151 h 177"/>
                <a:gd name="T12" fmla="*/ 122 w 177"/>
                <a:gd name="T13" fmla="*/ 170 h 177"/>
                <a:gd name="T14" fmla="*/ 103 w 177"/>
                <a:gd name="T15" fmla="*/ 162 h 177"/>
                <a:gd name="T16" fmla="*/ 88 w 177"/>
                <a:gd name="T17" fmla="*/ 177 h 177"/>
                <a:gd name="T18" fmla="*/ 74 w 177"/>
                <a:gd name="T19" fmla="*/ 162 h 177"/>
                <a:gd name="T20" fmla="*/ 55 w 177"/>
                <a:gd name="T21" fmla="*/ 170 h 177"/>
                <a:gd name="T22" fmla="*/ 47 w 177"/>
                <a:gd name="T23" fmla="*/ 151 h 177"/>
                <a:gd name="T24" fmla="*/ 26 w 177"/>
                <a:gd name="T25" fmla="*/ 151 h 177"/>
                <a:gd name="T26" fmla="*/ 26 w 177"/>
                <a:gd name="T27" fmla="*/ 130 h 177"/>
                <a:gd name="T28" fmla="*/ 7 w 177"/>
                <a:gd name="T29" fmla="*/ 122 h 177"/>
                <a:gd name="T30" fmla="*/ 15 w 177"/>
                <a:gd name="T31" fmla="*/ 103 h 177"/>
                <a:gd name="T32" fmla="*/ 0 w 177"/>
                <a:gd name="T33" fmla="*/ 88 h 177"/>
                <a:gd name="T34" fmla="*/ 15 w 177"/>
                <a:gd name="T35" fmla="*/ 74 h 177"/>
                <a:gd name="T36" fmla="*/ 7 w 177"/>
                <a:gd name="T37" fmla="*/ 55 h 177"/>
                <a:gd name="T38" fmla="*/ 26 w 177"/>
                <a:gd name="T39" fmla="*/ 47 h 177"/>
                <a:gd name="T40" fmla="*/ 26 w 177"/>
                <a:gd name="T41" fmla="*/ 26 h 177"/>
                <a:gd name="T42" fmla="*/ 47 w 177"/>
                <a:gd name="T43" fmla="*/ 26 h 177"/>
                <a:gd name="T44" fmla="*/ 55 w 177"/>
                <a:gd name="T45" fmla="*/ 7 h 177"/>
                <a:gd name="T46" fmla="*/ 74 w 177"/>
                <a:gd name="T47" fmla="*/ 15 h 177"/>
                <a:gd name="T48" fmla="*/ 88 w 177"/>
                <a:gd name="T49" fmla="*/ 0 h 177"/>
                <a:gd name="T50" fmla="*/ 103 w 177"/>
                <a:gd name="T51" fmla="*/ 15 h 177"/>
                <a:gd name="T52" fmla="*/ 122 w 177"/>
                <a:gd name="T53" fmla="*/ 7 h 177"/>
                <a:gd name="T54" fmla="*/ 130 w 177"/>
                <a:gd name="T55" fmla="*/ 26 h 177"/>
                <a:gd name="T56" fmla="*/ 151 w 177"/>
                <a:gd name="T57" fmla="*/ 26 h 177"/>
                <a:gd name="T58" fmla="*/ 151 w 177"/>
                <a:gd name="T59" fmla="*/ 47 h 177"/>
                <a:gd name="T60" fmla="*/ 170 w 177"/>
                <a:gd name="T61" fmla="*/ 55 h 177"/>
                <a:gd name="T62" fmla="*/ 162 w 177"/>
                <a:gd name="T63" fmla="*/ 74 h 177"/>
                <a:gd name="T64" fmla="*/ 177 w 177"/>
                <a:gd name="T65" fmla="*/ 8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7" h="177">
                  <a:moveTo>
                    <a:pt x="177" y="88"/>
                  </a:moveTo>
                  <a:cubicBezTo>
                    <a:pt x="177" y="94"/>
                    <a:pt x="163" y="98"/>
                    <a:pt x="162" y="103"/>
                  </a:cubicBezTo>
                  <a:cubicBezTo>
                    <a:pt x="161" y="108"/>
                    <a:pt x="172" y="117"/>
                    <a:pt x="170" y="122"/>
                  </a:cubicBezTo>
                  <a:cubicBezTo>
                    <a:pt x="168" y="127"/>
                    <a:pt x="154" y="126"/>
                    <a:pt x="151" y="130"/>
                  </a:cubicBezTo>
                  <a:cubicBezTo>
                    <a:pt x="148" y="135"/>
                    <a:pt x="155" y="147"/>
                    <a:pt x="151" y="151"/>
                  </a:cubicBezTo>
                  <a:cubicBezTo>
                    <a:pt x="147" y="155"/>
                    <a:pt x="135" y="148"/>
                    <a:pt x="130" y="151"/>
                  </a:cubicBezTo>
                  <a:cubicBezTo>
                    <a:pt x="126" y="154"/>
                    <a:pt x="127" y="168"/>
                    <a:pt x="122" y="170"/>
                  </a:cubicBezTo>
                  <a:cubicBezTo>
                    <a:pt x="117" y="172"/>
                    <a:pt x="108" y="161"/>
                    <a:pt x="103" y="162"/>
                  </a:cubicBezTo>
                  <a:cubicBezTo>
                    <a:pt x="98" y="163"/>
                    <a:pt x="94" y="177"/>
                    <a:pt x="88" y="177"/>
                  </a:cubicBezTo>
                  <a:cubicBezTo>
                    <a:pt x="83" y="177"/>
                    <a:pt x="79" y="163"/>
                    <a:pt x="74" y="162"/>
                  </a:cubicBezTo>
                  <a:cubicBezTo>
                    <a:pt x="68" y="161"/>
                    <a:pt x="60" y="172"/>
                    <a:pt x="55" y="170"/>
                  </a:cubicBezTo>
                  <a:cubicBezTo>
                    <a:pt x="50" y="168"/>
                    <a:pt x="51" y="154"/>
                    <a:pt x="47" y="151"/>
                  </a:cubicBezTo>
                  <a:cubicBezTo>
                    <a:pt x="42" y="148"/>
                    <a:pt x="30" y="155"/>
                    <a:pt x="26" y="151"/>
                  </a:cubicBezTo>
                  <a:cubicBezTo>
                    <a:pt x="22" y="147"/>
                    <a:pt x="29" y="135"/>
                    <a:pt x="26" y="130"/>
                  </a:cubicBezTo>
                  <a:cubicBezTo>
                    <a:pt x="23" y="126"/>
                    <a:pt x="9" y="127"/>
                    <a:pt x="7" y="122"/>
                  </a:cubicBezTo>
                  <a:cubicBezTo>
                    <a:pt x="5" y="117"/>
                    <a:pt x="16" y="108"/>
                    <a:pt x="15" y="103"/>
                  </a:cubicBezTo>
                  <a:cubicBezTo>
                    <a:pt x="14" y="98"/>
                    <a:pt x="0" y="94"/>
                    <a:pt x="0" y="88"/>
                  </a:cubicBezTo>
                  <a:cubicBezTo>
                    <a:pt x="0" y="83"/>
                    <a:pt x="14" y="79"/>
                    <a:pt x="15" y="74"/>
                  </a:cubicBezTo>
                  <a:cubicBezTo>
                    <a:pt x="16" y="68"/>
                    <a:pt x="5" y="60"/>
                    <a:pt x="7" y="55"/>
                  </a:cubicBezTo>
                  <a:cubicBezTo>
                    <a:pt x="9" y="50"/>
                    <a:pt x="23" y="51"/>
                    <a:pt x="26" y="47"/>
                  </a:cubicBezTo>
                  <a:cubicBezTo>
                    <a:pt x="29" y="42"/>
                    <a:pt x="22" y="30"/>
                    <a:pt x="26" y="26"/>
                  </a:cubicBezTo>
                  <a:cubicBezTo>
                    <a:pt x="30" y="22"/>
                    <a:pt x="42" y="29"/>
                    <a:pt x="47" y="26"/>
                  </a:cubicBezTo>
                  <a:cubicBezTo>
                    <a:pt x="51" y="23"/>
                    <a:pt x="50" y="9"/>
                    <a:pt x="55" y="7"/>
                  </a:cubicBezTo>
                  <a:cubicBezTo>
                    <a:pt x="60" y="5"/>
                    <a:pt x="68" y="16"/>
                    <a:pt x="74" y="15"/>
                  </a:cubicBezTo>
                  <a:cubicBezTo>
                    <a:pt x="79" y="14"/>
                    <a:pt x="83" y="0"/>
                    <a:pt x="88" y="0"/>
                  </a:cubicBezTo>
                  <a:cubicBezTo>
                    <a:pt x="94" y="0"/>
                    <a:pt x="98" y="14"/>
                    <a:pt x="103" y="15"/>
                  </a:cubicBezTo>
                  <a:cubicBezTo>
                    <a:pt x="108" y="16"/>
                    <a:pt x="117" y="5"/>
                    <a:pt x="122" y="7"/>
                  </a:cubicBezTo>
                  <a:cubicBezTo>
                    <a:pt x="127" y="9"/>
                    <a:pt x="126" y="23"/>
                    <a:pt x="130" y="26"/>
                  </a:cubicBezTo>
                  <a:cubicBezTo>
                    <a:pt x="135" y="29"/>
                    <a:pt x="147" y="22"/>
                    <a:pt x="151" y="26"/>
                  </a:cubicBezTo>
                  <a:cubicBezTo>
                    <a:pt x="155" y="30"/>
                    <a:pt x="148" y="42"/>
                    <a:pt x="151" y="47"/>
                  </a:cubicBezTo>
                  <a:cubicBezTo>
                    <a:pt x="154" y="51"/>
                    <a:pt x="168" y="50"/>
                    <a:pt x="170" y="55"/>
                  </a:cubicBezTo>
                  <a:cubicBezTo>
                    <a:pt x="172" y="60"/>
                    <a:pt x="161" y="68"/>
                    <a:pt x="162" y="74"/>
                  </a:cubicBezTo>
                  <a:cubicBezTo>
                    <a:pt x="163" y="79"/>
                    <a:pt x="177" y="83"/>
                    <a:pt x="177" y="88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62">
              <a:extLst>
                <a:ext uri="{FF2B5EF4-FFF2-40B4-BE49-F238E27FC236}">
                  <a16:creationId xmlns:a16="http://schemas.microsoft.com/office/drawing/2014/main" id="{762F4642-842E-490A-B5AC-2CA5FC845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1538" y="639763"/>
              <a:ext cx="571500" cy="571500"/>
            </a:xfrm>
            <a:custGeom>
              <a:avLst/>
              <a:gdLst>
                <a:gd name="T0" fmla="*/ 151 w 151"/>
                <a:gd name="T1" fmla="*/ 26 h 151"/>
                <a:gd name="T2" fmla="*/ 130 w 151"/>
                <a:gd name="T3" fmla="*/ 26 h 151"/>
                <a:gd name="T4" fmla="*/ 122 w 151"/>
                <a:gd name="T5" fmla="*/ 7 h 151"/>
                <a:gd name="T6" fmla="*/ 103 w 151"/>
                <a:gd name="T7" fmla="*/ 15 h 151"/>
                <a:gd name="T8" fmla="*/ 88 w 151"/>
                <a:gd name="T9" fmla="*/ 0 h 151"/>
                <a:gd name="T10" fmla="*/ 74 w 151"/>
                <a:gd name="T11" fmla="*/ 15 h 151"/>
                <a:gd name="T12" fmla="*/ 55 w 151"/>
                <a:gd name="T13" fmla="*/ 7 h 151"/>
                <a:gd name="T14" fmla="*/ 47 w 151"/>
                <a:gd name="T15" fmla="*/ 26 h 151"/>
                <a:gd name="T16" fmla="*/ 26 w 151"/>
                <a:gd name="T17" fmla="*/ 26 h 151"/>
                <a:gd name="T18" fmla="*/ 26 w 151"/>
                <a:gd name="T19" fmla="*/ 47 h 151"/>
                <a:gd name="T20" fmla="*/ 7 w 151"/>
                <a:gd name="T21" fmla="*/ 55 h 151"/>
                <a:gd name="T22" fmla="*/ 15 w 151"/>
                <a:gd name="T23" fmla="*/ 74 h 151"/>
                <a:gd name="T24" fmla="*/ 0 w 151"/>
                <a:gd name="T25" fmla="*/ 88 h 151"/>
                <a:gd name="T26" fmla="*/ 15 w 151"/>
                <a:gd name="T27" fmla="*/ 103 h 151"/>
                <a:gd name="T28" fmla="*/ 7 w 151"/>
                <a:gd name="T29" fmla="*/ 122 h 151"/>
                <a:gd name="T30" fmla="*/ 26 w 151"/>
                <a:gd name="T31" fmla="*/ 130 h 151"/>
                <a:gd name="T32" fmla="*/ 26 w 151"/>
                <a:gd name="T33" fmla="*/ 151 h 151"/>
                <a:gd name="T34" fmla="*/ 26 w 151"/>
                <a:gd name="T35" fmla="*/ 151 h 151"/>
                <a:gd name="T36" fmla="*/ 151 w 151"/>
                <a:gd name="T37" fmla="*/ 26 h 151"/>
                <a:gd name="T38" fmla="*/ 151 w 151"/>
                <a:gd name="T39" fmla="*/ 2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1" h="151">
                  <a:moveTo>
                    <a:pt x="151" y="26"/>
                  </a:moveTo>
                  <a:cubicBezTo>
                    <a:pt x="147" y="22"/>
                    <a:pt x="135" y="29"/>
                    <a:pt x="130" y="26"/>
                  </a:cubicBezTo>
                  <a:cubicBezTo>
                    <a:pt x="126" y="23"/>
                    <a:pt x="127" y="9"/>
                    <a:pt x="122" y="7"/>
                  </a:cubicBezTo>
                  <a:cubicBezTo>
                    <a:pt x="117" y="5"/>
                    <a:pt x="108" y="16"/>
                    <a:pt x="103" y="15"/>
                  </a:cubicBezTo>
                  <a:cubicBezTo>
                    <a:pt x="98" y="14"/>
                    <a:pt x="94" y="0"/>
                    <a:pt x="88" y="0"/>
                  </a:cubicBezTo>
                  <a:cubicBezTo>
                    <a:pt x="83" y="0"/>
                    <a:pt x="79" y="14"/>
                    <a:pt x="74" y="15"/>
                  </a:cubicBezTo>
                  <a:cubicBezTo>
                    <a:pt x="68" y="16"/>
                    <a:pt x="60" y="5"/>
                    <a:pt x="55" y="7"/>
                  </a:cubicBezTo>
                  <a:cubicBezTo>
                    <a:pt x="50" y="9"/>
                    <a:pt x="51" y="23"/>
                    <a:pt x="47" y="26"/>
                  </a:cubicBezTo>
                  <a:cubicBezTo>
                    <a:pt x="42" y="29"/>
                    <a:pt x="30" y="22"/>
                    <a:pt x="26" y="26"/>
                  </a:cubicBezTo>
                  <a:cubicBezTo>
                    <a:pt x="22" y="30"/>
                    <a:pt x="29" y="42"/>
                    <a:pt x="26" y="47"/>
                  </a:cubicBezTo>
                  <a:cubicBezTo>
                    <a:pt x="23" y="51"/>
                    <a:pt x="9" y="50"/>
                    <a:pt x="7" y="55"/>
                  </a:cubicBezTo>
                  <a:cubicBezTo>
                    <a:pt x="5" y="60"/>
                    <a:pt x="16" y="68"/>
                    <a:pt x="15" y="74"/>
                  </a:cubicBezTo>
                  <a:cubicBezTo>
                    <a:pt x="14" y="79"/>
                    <a:pt x="0" y="83"/>
                    <a:pt x="0" y="88"/>
                  </a:cubicBezTo>
                  <a:cubicBezTo>
                    <a:pt x="0" y="94"/>
                    <a:pt x="14" y="98"/>
                    <a:pt x="15" y="103"/>
                  </a:cubicBezTo>
                  <a:cubicBezTo>
                    <a:pt x="16" y="108"/>
                    <a:pt x="5" y="117"/>
                    <a:pt x="7" y="122"/>
                  </a:cubicBezTo>
                  <a:cubicBezTo>
                    <a:pt x="9" y="127"/>
                    <a:pt x="23" y="126"/>
                    <a:pt x="26" y="130"/>
                  </a:cubicBezTo>
                  <a:cubicBezTo>
                    <a:pt x="29" y="135"/>
                    <a:pt x="22" y="147"/>
                    <a:pt x="26" y="151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151" y="26"/>
                    <a:pt x="151" y="26"/>
                    <a:pt x="151" y="26"/>
                  </a:cubicBezTo>
                  <a:cubicBezTo>
                    <a:pt x="151" y="26"/>
                    <a:pt x="151" y="26"/>
                    <a:pt x="151" y="26"/>
                  </a:cubicBez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Oval 63">
              <a:extLst>
                <a:ext uri="{FF2B5EF4-FFF2-40B4-BE49-F238E27FC236}">
                  <a16:creationId xmlns:a16="http://schemas.microsoft.com/office/drawing/2014/main" id="{49AB7D65-7B56-4CE6-BBAD-1A05DFF7B0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1075" y="749301"/>
              <a:ext cx="450850" cy="450850"/>
            </a:xfrm>
            <a:prstGeom prst="ellipse">
              <a:avLst/>
            </a:pr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64">
              <a:extLst>
                <a:ext uri="{FF2B5EF4-FFF2-40B4-BE49-F238E27FC236}">
                  <a16:creationId xmlns:a16="http://schemas.microsoft.com/office/drawing/2014/main" id="{8ADDD26B-7FC0-4E38-85FD-1A73963FF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1075" y="749301"/>
              <a:ext cx="382588" cy="385763"/>
            </a:xfrm>
            <a:custGeom>
              <a:avLst/>
              <a:gdLst>
                <a:gd name="T0" fmla="*/ 59 w 101"/>
                <a:gd name="T1" fmla="*/ 0 h 102"/>
                <a:gd name="T2" fmla="*/ 0 w 101"/>
                <a:gd name="T3" fmla="*/ 59 h 102"/>
                <a:gd name="T4" fmla="*/ 17 w 101"/>
                <a:gd name="T5" fmla="*/ 102 h 102"/>
                <a:gd name="T6" fmla="*/ 101 w 101"/>
                <a:gd name="T7" fmla="*/ 17 h 102"/>
                <a:gd name="T8" fmla="*/ 59 w 101"/>
                <a:gd name="T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59" y="0"/>
                  </a:moveTo>
                  <a:cubicBezTo>
                    <a:pt x="26" y="0"/>
                    <a:pt x="0" y="27"/>
                    <a:pt x="0" y="59"/>
                  </a:cubicBezTo>
                  <a:cubicBezTo>
                    <a:pt x="0" y="76"/>
                    <a:pt x="6" y="91"/>
                    <a:pt x="17" y="102"/>
                  </a:cubicBezTo>
                  <a:cubicBezTo>
                    <a:pt x="101" y="17"/>
                    <a:pt x="101" y="17"/>
                    <a:pt x="101" y="17"/>
                  </a:cubicBezTo>
                  <a:cubicBezTo>
                    <a:pt x="91" y="6"/>
                    <a:pt x="76" y="0"/>
                    <a:pt x="59" y="0"/>
                  </a:cubicBezTo>
                  <a:close/>
                </a:path>
              </a:pathLst>
            </a:custGeom>
            <a:solidFill>
              <a:srgbClr val="FBEC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Oval 65">
              <a:extLst>
                <a:ext uri="{FF2B5EF4-FFF2-40B4-BE49-F238E27FC236}">
                  <a16:creationId xmlns:a16="http://schemas.microsoft.com/office/drawing/2014/main" id="{2922103D-DC92-48C9-AC47-2B5425F5D9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47275" y="828676"/>
              <a:ext cx="295275" cy="292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" name="Picture 1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9D202E82-51B0-3F55-FD00-5FE0B31BFD6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71" b="30937"/>
          <a:stretch/>
        </p:blipFill>
        <p:spPr>
          <a:xfrm>
            <a:off x="102834" y="5816619"/>
            <a:ext cx="1760162" cy="658164"/>
          </a:xfrm>
          <a:prstGeom prst="rect">
            <a:avLst/>
          </a:prstGeom>
        </p:spPr>
      </p:pic>
      <p:pic>
        <p:nvPicPr>
          <p:cNvPr id="3" name="Picture 2" descr="A toy building set with a blue figure&#10;&#10;Description automatically generated with medium confidence">
            <a:extLst>
              <a:ext uri="{FF2B5EF4-FFF2-40B4-BE49-F238E27FC236}">
                <a16:creationId xmlns:a16="http://schemas.microsoft.com/office/drawing/2014/main" id="{EED7A3BA-CB4A-8CF5-ACB4-2DD844F222A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651" y="553335"/>
            <a:ext cx="5523503" cy="5237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57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F1F56A-86B4-1B55-49EE-606DD0206B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3AF19A0F-C0C0-275C-7C2D-74374BECA4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10C0D1-E837-F099-47F3-B80F6A1289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https://nathan-clouse.sandbox.operations.dynamics.com/?cmp=usmf&amp;mi=</a:t>
            </a:r>
            <a:r>
              <a:rPr lang="en-US" sz="2800" dirty="0">
                <a:highlight>
                  <a:srgbClr val="FFFF00"/>
                </a:highlight>
              </a:rPr>
              <a:t>BatchJob</a:t>
            </a:r>
          </a:p>
          <a:p>
            <a:r>
              <a:rPr lang="en-US" sz="2800" dirty="0"/>
              <a:t>https://nathan-clouse.sandbox.operations.dynamics.com/?cmp=usmf&amp;mi=</a:t>
            </a:r>
            <a:r>
              <a:rPr lang="en-US" sz="2800" dirty="0">
                <a:highlight>
                  <a:srgbClr val="FFFF00"/>
                </a:highlight>
              </a:rPr>
              <a:t>BatchJobHistory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3E7D91-E719-4E26-1326-6D06F4602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F37EE84D-AB39-2029-F1E4-243D2E05FFD0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45FD539D-8710-0767-D35A-ABAC92017D88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Menu Item Hack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AD9513F3-D2D6-A9AC-3F07-9EE37A44FF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7464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A71E5-81DC-874F-4468-B8F8B0228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28B16E-1B3D-A889-76B5-F646F8D035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9FE774-5301-F6DF-1E98-9511949842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4CD4198-269C-AC0C-57DF-59C7B9568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751" y="681037"/>
            <a:ext cx="11690616" cy="5334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7690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C2F24A-05B5-E7D0-1462-BDB3E94983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4872B6FE-85B6-CF8C-896F-B8D80AE6DF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D92010-687E-C4B8-3F27-AE61397FCC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If DMF is slow, run cleanup</a:t>
            </a:r>
          </a:p>
          <a:p>
            <a:r>
              <a:rPr lang="en-US" sz="3200" dirty="0"/>
              <a:t>This cleans up data that most likely isn’t needed</a:t>
            </a:r>
          </a:p>
          <a:p>
            <a:r>
              <a:rPr lang="en-US" sz="3200" dirty="0"/>
              <a:t>Databases with less data typically are faster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6C28B8-03D8-DC9A-DBDD-EF373B12F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397DD27E-20E1-3D4B-E01E-FEE08C3C80CE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8F465028-CB9F-BCEE-7005-EBB22067CE2C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DMF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000E6829-EEA7-ED06-C7FF-1C40886FDF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8249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ED5AD3-AF79-04C7-45C0-FC0AD032C0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006FC9-EDC4-503A-FA62-C0B4F8B471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0BE138-4FF5-67BF-F27E-DB6BDAD1B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DCFF3B-C91D-A763-438F-7A6DDA5B8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4306" y="522717"/>
            <a:ext cx="11388567" cy="5654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798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2CA7DB-85AB-5D71-08AF-B78619CC2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7AE45A-660D-E69F-1264-BC1A0B7E22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9D468A-0570-6C56-6F94-300E56A3DA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BD3689-AD0E-4432-74BC-A72E6FE1E7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8424" y="75064"/>
            <a:ext cx="4935152" cy="635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9393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92350-D675-9DC3-5D34-88AD347C2C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9F7CF281-B972-55C0-6AA7-20E9C1C838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B989E5-4384-D347-6677-C071B0ADA8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4382407" cy="4351338"/>
          </a:xfrm>
        </p:spPr>
        <p:txBody>
          <a:bodyPr>
            <a:normAutofit/>
          </a:bodyPr>
          <a:lstStyle/>
          <a:p>
            <a:r>
              <a:rPr lang="en-US" sz="3200" dirty="0"/>
              <a:t>Storage Capacity</a:t>
            </a:r>
          </a:p>
          <a:p>
            <a:pPr lvl="1"/>
            <a:r>
              <a:rPr lang="en-US" sz="2800" dirty="0"/>
              <a:t>Database Usage</a:t>
            </a:r>
          </a:p>
          <a:p>
            <a:pPr lvl="1"/>
            <a:r>
              <a:rPr lang="en-US" sz="2800" dirty="0"/>
              <a:t>Blob Usage</a:t>
            </a:r>
          </a:p>
          <a:p>
            <a:pPr lvl="1"/>
            <a:r>
              <a:rPr lang="en-US" sz="2800" dirty="0"/>
              <a:t>Nothing to do with system performance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0C65F7-272E-2200-BA4C-BC7DC2D65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EFD904F2-544A-F1FA-135A-BB60590F11DD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CDC720F9-AD90-6945-994E-26ADA3A1A31F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Short Chat about Capacity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8798B75D-1AA8-B588-27BF-19744C7785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50A2650-2E35-2DED-C97B-717FE66FE897}"/>
              </a:ext>
            </a:extLst>
          </p:cNvPr>
          <p:cNvSpPr txBox="1">
            <a:spLocks/>
          </p:cNvSpPr>
          <p:nvPr/>
        </p:nvSpPr>
        <p:spPr>
          <a:xfrm>
            <a:off x="5900744" y="1825625"/>
            <a:ext cx="438240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Batch Capacity</a:t>
            </a:r>
          </a:p>
          <a:p>
            <a:pPr lvl="1"/>
            <a:r>
              <a:rPr lang="en-US" sz="2800" dirty="0"/>
              <a:t>Threads available</a:t>
            </a:r>
          </a:p>
          <a:p>
            <a:pPr lvl="1"/>
            <a:r>
              <a:rPr lang="en-US" sz="2800" dirty="0"/>
              <a:t>Batch Job Tasks that are available to run</a:t>
            </a:r>
          </a:p>
          <a:p>
            <a:pPr lvl="1"/>
            <a:r>
              <a:rPr lang="en-US" sz="2800" dirty="0"/>
              <a:t>Amount of resources dedicated to batch workload</a:t>
            </a:r>
          </a:p>
        </p:txBody>
      </p:sp>
    </p:spTree>
    <p:extLst>
      <p:ext uri="{BB962C8B-B14F-4D97-AF65-F5344CB8AC3E}">
        <p14:creationId xmlns:p14="http://schemas.microsoft.com/office/powerpoint/2010/main" val="45076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D9EEA7-3B5B-A2FB-F4A4-E965104393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CC1CFCF6-189E-EE49-6E1A-3120F33937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481B-3179-D641-E30C-B54A3C0CE0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DMF, Custom Services, and OData</a:t>
            </a:r>
          </a:p>
          <a:p>
            <a:pPr lvl="1"/>
            <a:r>
              <a:rPr lang="en-US" sz="2800" dirty="0"/>
              <a:t>LCS tools are being removed so some visibility is limited</a:t>
            </a:r>
          </a:p>
          <a:p>
            <a:pPr lvl="1"/>
            <a:r>
              <a:rPr lang="en-US" sz="2800" dirty="0"/>
              <a:t>Endpoints aren’t managed so no layer there to help either</a:t>
            </a:r>
          </a:p>
          <a:p>
            <a:r>
              <a:rPr lang="en-US" sz="3200" dirty="0"/>
              <a:t>Use Azure API Manager for API Endpoints</a:t>
            </a:r>
          </a:p>
          <a:p>
            <a:pPr lvl="1"/>
            <a:r>
              <a:rPr lang="en-US" sz="2800" dirty="0"/>
              <a:t>Limitations from LCS on logging – no automation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9AA909-3165-BD96-DE0E-4197B1C91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7F62C02D-4B3B-7CBC-685D-8B5C4C76562B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CF82621A-877A-68B5-3E62-E72AF9D7EB12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Integration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C4CB4447-03CA-6BAA-56C1-383E967B7B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1539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586768-C7B0-5147-BFD0-43E80ED053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A53B0915-114B-841D-D67E-E37C1A59B4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963E06-36D4-B456-B5B1-1254ACE26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7582807" cy="4351338"/>
          </a:xfrm>
        </p:spPr>
        <p:txBody>
          <a:bodyPr>
            <a:normAutofit/>
          </a:bodyPr>
          <a:lstStyle/>
          <a:p>
            <a:r>
              <a:rPr lang="en-US" sz="3200" dirty="0"/>
              <a:t>Going away in the future</a:t>
            </a:r>
          </a:p>
          <a:p>
            <a:r>
              <a:rPr lang="en-US" sz="3200" dirty="0"/>
              <a:t>Replaced with Power Platform Admin Center (PPAC)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79C7D7-4F8E-57D4-B252-810CB43AD1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C26FADFB-C704-A08D-8DD3-4603BB028F7B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D9D034BE-5949-2DDA-09D9-7B01F31EBBCF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LC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8D63EF2B-3F4E-CC3C-879D-148931B616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C57F51C-C615-4ED5-8083-1AA8AE8FBE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1480" y="1528146"/>
            <a:ext cx="2210135" cy="532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8424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1D92B4-33B0-9EEB-3262-E06D4A2D34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B7BCA793-F76D-7A51-F45C-F758CA3C1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9EB87B-F54D-CB27-B43F-D9468DA769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https://community.dynamics.com/blogs/post/?postid=b8014884-9aa3-4fdb-8e2a-b3440d01a79a</a:t>
            </a:r>
          </a:p>
          <a:p>
            <a:r>
              <a:rPr lang="en-GB" dirty="0"/>
              <a:t>https://alexdmeyer.com/2023/10/03/using-telemetry-data-for-read-auditing-in-d365fo/</a:t>
            </a:r>
          </a:p>
          <a:p>
            <a:r>
              <a:rPr lang="en-GB" dirty="0"/>
              <a:t>https://github.com/microsoft/Dynamics-365-FastTrack-FSCM-Telemetry-Samples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D3495E-E991-6A38-0B0A-93729C196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BC64FB85-2AF6-4E68-BDBD-C5F2764B243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7AD1744D-CFBB-A32F-821E-8411EFDB9105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elemetry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FB0FA617-CCCB-7D2A-3E9A-35339B0D48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2335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EAA69F-CD2A-9CF0-C06B-1E096F7BF8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84DF745C-D279-DB58-5F86-D02069758E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9CFE02-610E-CBD1-8CAC-F32559B252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Tools &gt; Task Recorder &gt; Start</a:t>
            </a:r>
          </a:p>
          <a:p>
            <a:r>
              <a:rPr lang="en-US" sz="3600" dirty="0"/>
              <a:t>Collects button clicks, form opens, etc. for “thing that is slow”</a:t>
            </a:r>
          </a:p>
          <a:p>
            <a:endParaRPr lang="en-GB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A2B61E-C3AF-7151-1ABD-01D054659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966EC615-AC70-532E-9D0D-6F2C4FC3CA4D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F179C7A3-D1E1-AFCB-F46E-F0B37C88D699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ask Recorder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F96E2FC8-19A4-6C73-D438-9356719727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178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CCB398-1B0C-6E46-E515-15AA78A5E5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A good product using good technology that delivers good results with good performance</a:t>
            </a:r>
          </a:p>
          <a:p>
            <a:r>
              <a:rPr lang="en-US" sz="3600" dirty="0"/>
              <a:t>Its up to us to make it great for our organiz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726C135-4F9E-3469-FEDF-3180B1451DAF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What Microsoft Deliver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C09EFF51-1906-C283-4466-221D3BC405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0332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CBDAF8-8823-26CE-EC17-D61996EF71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65B29AFC-5583-3662-3C91-253340DD5A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F44623-CC47-CCEF-8087-22E0AD2393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Task Recording</a:t>
            </a:r>
          </a:p>
          <a:p>
            <a:r>
              <a:rPr lang="en-US" sz="3200" dirty="0"/>
              <a:t>Include Word Doc, Developer recording, and .</a:t>
            </a:r>
            <a:r>
              <a:rPr lang="en-US" sz="3200" dirty="0" err="1"/>
              <a:t>axtr</a:t>
            </a:r>
            <a:endParaRPr lang="en-US" sz="3200" dirty="0"/>
          </a:p>
          <a:p>
            <a:r>
              <a:rPr lang="en-US" sz="3200" dirty="0"/>
              <a:t>Include the legal entity/company, date and time of day with time zone</a:t>
            </a:r>
          </a:p>
          <a:p>
            <a:r>
              <a:rPr lang="en-US" sz="3200" dirty="0"/>
              <a:t>Use Teams to record your screen if you can ( have a meeting with yourself )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6E69DD-1CF5-F052-BB0D-9EA919888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0B226678-50B2-CAAF-01A9-08C32933B79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3FB9E989-70E6-4109-C472-56E24D0D450B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“Performance Report”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463932BE-257A-8005-1642-F80814D04B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8108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DE38A3-C3D5-52CA-D857-01EC588AFC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E7863A-004F-EF52-0D97-5EB71554C2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C9C5BF-FB41-C123-A38D-EE7881BF0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07B4F1-D99B-246E-74DD-0CA855720A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4075" y="615627"/>
            <a:ext cx="10090329" cy="5561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4320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C0D66-974D-417E-C418-FF4DCF8E8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5D9D5797-5BF4-3BAE-0923-B70CE17E3B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D81B70-F803-FE5F-5599-A448EA2799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urn on telemetry</a:t>
            </a:r>
          </a:p>
          <a:p>
            <a:pPr lvl="1"/>
            <a:r>
              <a:rPr lang="en-US" dirty="0"/>
              <a:t>Custom Metrics</a:t>
            </a:r>
          </a:p>
          <a:p>
            <a:pPr lvl="1"/>
            <a:r>
              <a:rPr lang="en-US" dirty="0"/>
              <a:t>Form runs ( Page Views)</a:t>
            </a:r>
          </a:p>
          <a:p>
            <a:pPr lvl="1"/>
            <a:r>
              <a:rPr lang="en-US" dirty="0"/>
              <a:t>User Sessions</a:t>
            </a:r>
          </a:p>
          <a:p>
            <a:pPr lvl="1"/>
            <a:r>
              <a:rPr lang="en-US" dirty="0"/>
              <a:t>X++ exceptions</a:t>
            </a:r>
          </a:p>
          <a:p>
            <a:pPr lvl="1"/>
            <a:r>
              <a:rPr lang="en-US" dirty="0"/>
              <a:t>Custom Traces</a:t>
            </a:r>
          </a:p>
          <a:p>
            <a:pPr lvl="1"/>
            <a:r>
              <a:rPr lang="en-US" dirty="0"/>
              <a:t>DMF Errors</a:t>
            </a:r>
          </a:p>
          <a:p>
            <a:pPr lvl="1"/>
            <a:r>
              <a:rPr lang="en-US" dirty="0"/>
              <a:t>Warehouse events</a:t>
            </a:r>
          </a:p>
          <a:p>
            <a:r>
              <a:rPr lang="en-GB" dirty="0"/>
              <a:t>Add your ow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C4ADBE-9ABD-246D-42CF-CF5B3B03E9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3251E9A6-A92E-F943-FBB1-04234CB1A015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A38CF022-3A62-FA66-C492-EE1B840137CF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elemetry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AFAC63FD-7016-9A08-749F-14DB0CDAD7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B9CD5D9-1416-969C-CA80-C2678771DB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9925" y="1825625"/>
            <a:ext cx="7598694" cy="4188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48376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563212-8DB7-48ED-2585-D75E1FEA0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C43857-1C91-B31E-988A-BE30213B25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B441FE-2306-41CF-3B2F-B2108CA3B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5" name="Picture 2" descr="Placeholder">
            <a:extLst>
              <a:ext uri="{FF2B5EF4-FFF2-40B4-BE49-F238E27FC236}">
                <a16:creationId xmlns:a16="http://schemas.microsoft.com/office/drawing/2014/main" id="{94241DC1-8584-166D-6BE7-E1A15BABD0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1" y="488950"/>
            <a:ext cx="11757228" cy="5688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808957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92EA3F-E74D-9727-EAF7-187EFC0971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E89756F7-BE7B-5B6D-38ED-8C58FE175B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47280E-9D1F-968D-C86A-E8C746F603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Limited insight</a:t>
            </a:r>
          </a:p>
          <a:p>
            <a:r>
              <a:rPr lang="en-US" sz="3200" dirty="0"/>
              <a:t>Reducing functionality over time</a:t>
            </a:r>
          </a:p>
          <a:p>
            <a:r>
              <a:rPr lang="en-US" sz="3200" dirty="0"/>
              <a:t>No automation available for most logging functionality</a:t>
            </a:r>
          </a:p>
          <a:p>
            <a:r>
              <a:rPr lang="en-US" sz="3200" dirty="0"/>
              <a:t>Slow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7F2598-E2CA-12CC-1BA2-3F2DE4C74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9DE3A619-B2AD-CEAE-19A5-F49FB01E525A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B91C28EE-92D5-6705-2662-27DDA88BCB3E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LC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DF6329F4-8C21-951A-B713-6BB3A5B554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4879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D90D35-DA1A-74FE-9BC2-566D8E9FA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9094C-7255-A6E0-7612-B910004F0A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D1D0CF-4CBC-C149-6E4A-6A367786E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3C8445-A89E-EFBB-D83D-88A75D9896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952" y="365125"/>
            <a:ext cx="11478096" cy="569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60986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94F79-AC60-3ADF-BA81-4C3A11E7B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801387-BDF3-CF7C-80D3-34877F7746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5569DE-50C7-37EB-028B-85C4273BF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F5D231-94F3-AE2A-4841-B98E0BD667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701" y="365125"/>
            <a:ext cx="11557000" cy="5737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53466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D9DBEF-D5E9-76ED-BB30-87F003C879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06B57-54BB-E5CA-F0F3-E3F7F3E9323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750620"/>
            <a:ext cx="10757098" cy="698776"/>
          </a:xfrm>
        </p:spPr>
        <p:txBody>
          <a:bodyPr/>
          <a:lstStyle/>
          <a:p>
            <a:r>
              <a:rPr lang="en-US" dirty="0"/>
              <a:t>LC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78713B-BD63-85EC-9661-12979D7475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402431"/>
            <a:ext cx="12192000" cy="6053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063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A501E8-4012-DCAF-DBF7-C5FA61E72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38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943AE5-9AFB-A394-D524-66D384A708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365" y="1468073"/>
            <a:ext cx="11636513" cy="3759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28943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1E4827A-DD33-0E9C-3ABD-94C1B0A27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39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D1A255D-4E3B-1DA7-1305-67DDC0FA2D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4788" y="895082"/>
            <a:ext cx="7754237" cy="5107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9179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15EB94-99EE-C62C-9CC8-45CD6E348C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C70B1251-2421-C382-8871-1F833BB9DD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4077D6-A86D-232F-B975-773414AE35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Visible</a:t>
            </a:r>
          </a:p>
          <a:p>
            <a:pPr lvl="1"/>
            <a:r>
              <a:rPr lang="en-US" dirty="0"/>
              <a:t>Slow Screens or reports</a:t>
            </a:r>
          </a:p>
          <a:p>
            <a:pPr lvl="1"/>
            <a:r>
              <a:rPr lang="en-US" dirty="0"/>
              <a:t>Excel Add-in going slow</a:t>
            </a:r>
          </a:p>
          <a:p>
            <a:pPr lvl="1"/>
            <a:r>
              <a:rPr lang="en-US" dirty="0"/>
              <a:t>Waiting</a:t>
            </a:r>
          </a:p>
          <a:p>
            <a:r>
              <a:rPr lang="en-US" dirty="0"/>
              <a:t>Not-So-Visible</a:t>
            </a:r>
          </a:p>
          <a:p>
            <a:pPr lvl="1"/>
            <a:r>
              <a:rPr lang="en-US" dirty="0"/>
              <a:t>Batch jobs</a:t>
            </a:r>
          </a:p>
          <a:p>
            <a:pPr lvl="1"/>
            <a:r>
              <a:rPr lang="en-US" dirty="0"/>
              <a:t>DMF</a:t>
            </a:r>
          </a:p>
          <a:p>
            <a:pPr lvl="1"/>
            <a:r>
              <a:rPr lang="en-US" dirty="0"/>
              <a:t>Integration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A9B8CF-B445-06B5-284E-EADD68640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FD8BAE98-2AEC-67C5-FFD8-7114533733F3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6CFA3AD5-959C-0632-70F7-6942CD23BA97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Identifying Issue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3A921ABB-026F-F054-18E4-580F26C4AB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5" name="Picture 4" descr="A toy building set with a blue figure&#10;&#10;Description automatically generated with medium confidence">
            <a:extLst>
              <a:ext uri="{FF2B5EF4-FFF2-40B4-BE49-F238E27FC236}">
                <a16:creationId xmlns:a16="http://schemas.microsoft.com/office/drawing/2014/main" id="{04F9763C-D57C-9007-952F-5218344E50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301" y="1636104"/>
            <a:ext cx="5523503" cy="5237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3380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918F794-D221-1BEE-7BC0-CAA73F973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40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40EFD39-C3FA-8187-3CCA-67A496F966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6639" y="429889"/>
            <a:ext cx="7065998" cy="5429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45079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4BD2D5A-6AF8-7D5E-0636-3953D7130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41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CEB90D-B98E-5A6A-5FF4-EFA4DB4BED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4904" y="1144881"/>
            <a:ext cx="5866667" cy="470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49892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4A6BEB-DAD6-7302-3D42-EB1191FE35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9B77BC44-21DA-01DE-AFFF-ABF8A774A8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64CB0D-A49F-D514-1238-AC67951F72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What is a trace?</a:t>
            </a:r>
          </a:p>
          <a:p>
            <a:r>
              <a:rPr lang="en-US" sz="3200" dirty="0"/>
              <a:t>Detailed log of events, system calls, SQL queries, and resource usage captured while a specific task is being executed</a:t>
            </a:r>
          </a:p>
          <a:p>
            <a:r>
              <a:rPr lang="en-US" sz="3200" dirty="0"/>
              <a:t>Help &gt; Trace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2BB369-6D6E-49A2-431A-D8CED37F8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0A1F34F-D09A-A6D5-121A-28920CA211A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C10640ED-7F79-CACF-B8BB-B2052692AF9F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race Parser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D036C458-F1E5-CF18-5750-17088FC1CE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173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BAF11B-3903-F19C-6646-58036E9F6D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34972123-5127-2836-2639-CFE112D777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C3F3F8-F577-D453-55CD-7391661192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6001657" cy="4351338"/>
          </a:xfrm>
        </p:spPr>
        <p:txBody>
          <a:bodyPr>
            <a:normAutofit/>
          </a:bodyPr>
          <a:lstStyle/>
          <a:p>
            <a:r>
              <a:rPr lang="en-US" sz="3200" dirty="0"/>
              <a:t>SQL Parameters</a:t>
            </a:r>
          </a:p>
          <a:p>
            <a:r>
              <a:rPr lang="en-US" sz="3200" dirty="0"/>
              <a:t>Gives more insight, “costs” a little more when on</a:t>
            </a:r>
          </a:p>
          <a:p>
            <a:r>
              <a:rPr lang="en-US" sz="3200" dirty="0"/>
              <a:t>Only admins can see previous traces</a:t>
            </a:r>
          </a:p>
          <a:p>
            <a:r>
              <a:rPr lang="en-US" sz="3200" dirty="0"/>
              <a:t>Users need “System Tracing user” to capture a trace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54005D-053F-7721-603C-1BF069E7C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2AFC00CC-9405-3418-0176-ACCE6621F71B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31A37FA4-40E6-6F15-80E6-6AB2CCE2CD86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race Parser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154C390F-D616-60D1-1130-61EF521A6F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684538-59E4-2DAA-5673-B0EF4B6B86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5322" y="2307142"/>
            <a:ext cx="2838095" cy="25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83004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A8340D-E479-0DD4-6F0A-B8A336C68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90DD966D-E6AC-E9BD-ADB5-B058ECE669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50990A-B676-E58C-6C98-E59691E468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Found on VHD and VMs.</a:t>
            </a:r>
          </a:p>
          <a:p>
            <a:r>
              <a:rPr lang="en-US" sz="3200" dirty="0"/>
              <a:t>“Microsoft Dynamics 365 Unified Operations - Trace Parser” in start menu</a:t>
            </a:r>
          </a:p>
          <a:p>
            <a:r>
              <a:rPr lang="en-US" sz="3200" dirty="0"/>
              <a:t>In UDE assets</a:t>
            </a:r>
          </a:p>
          <a:p>
            <a:endParaRPr lang="en-US" sz="3200" dirty="0"/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FEF43E-469D-6A9C-FB02-2983B4612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BCDBEB8B-D5E4-F823-5A67-C8BF02B01F2D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6843D2D1-33CE-DCFF-01E1-A8BF4D543963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Parsing A Trace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AF0F78EB-5CBA-8781-8913-9F95D81D6F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2278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4118F8-ADE0-81A3-1960-91E27F2E8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C88183-0F5A-625D-133B-7DD66437F0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5E3398-7451-42EA-F412-739B33CA2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14BB9A-C1BF-8740-CE19-30C8D4CDE0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" y="0"/>
            <a:ext cx="12434711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34994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6660F-75D5-B550-5D25-64B6FB2D7D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910667-CE0D-0B0D-6F07-76B3A019DC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482D26-E835-9310-E701-0460B0274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745613-0A74-AB7B-FBFA-EE9A559EC8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523" y="2440119"/>
            <a:ext cx="10971428" cy="21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0841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444086-0E23-6068-8CD0-2CC4A7768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C6AA3C-7113-EBDD-848C-8E89123D16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95F556-BB92-D81B-61AE-85B39C757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ED2B43-C853-53F4-AFA3-8CA0A4D904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" y="0"/>
            <a:ext cx="12434711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74718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19380B-8DA9-DB2E-9219-80F1C13EC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C31709-E9CA-1C59-C44D-2A30D47A68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F34469-90BC-C2AB-A4D6-2F8469E3B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715E76-2982-F6DA-81FC-77526BC9F1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140" y="101601"/>
            <a:ext cx="10726310" cy="650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23210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02057B-FC57-2765-B166-79BFA6279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2D1713-7E8C-55BC-BD9B-2588766058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0CA2B6-A635-1497-0B77-446B7A3F03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7B56B8-B13F-6619-B028-DF5A4C65E6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824" y="1367827"/>
            <a:ext cx="11698351" cy="393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2872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14E1DA-ACDD-AED0-0D23-32458155F6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231FFE1D-9FEC-DB1F-78A2-DBC197500E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334026-D326-73CD-AB32-D0A519454C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If a form is slow…</a:t>
            </a:r>
          </a:p>
          <a:p>
            <a:r>
              <a:rPr lang="en-US" sz="4000" dirty="0"/>
              <a:t>Remove some columns</a:t>
            </a:r>
          </a:p>
          <a:p>
            <a:r>
              <a:rPr lang="en-US" sz="4000" dirty="0"/>
              <a:t>Don’t use it? Don’t need it!</a:t>
            </a:r>
          </a:p>
          <a:p>
            <a:endParaRPr lang="en-GB" sz="4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0A7F44-70AE-BF8C-E756-66477D015A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B529D448-C7F1-9157-E356-035D94279ED7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872D97DC-9B93-5538-76B7-8AB401FA77B3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Form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E8215AE5-842E-4A5D-BE56-3F5C41558F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84845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133D78-5351-69F8-492B-3D923469F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D9EC7C-433D-2F53-96FF-5B25B10B0A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49B565-74A6-7996-4899-CDF996709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11E824-B5C0-B2B2-0748-854524D323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700" y="903610"/>
            <a:ext cx="11404600" cy="4756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33536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483CB8-DE2F-0782-49A2-5B68D20FE6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209103A-332B-CE4C-4D46-C6AF3B59D6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049DE-20E0-7198-192E-2A1D96B744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Poor Indexing of Tables</a:t>
            </a:r>
          </a:p>
          <a:p>
            <a:r>
              <a:rPr lang="en-US" sz="3200" dirty="0"/>
              <a:t>Missing Indexes / Indices</a:t>
            </a:r>
          </a:p>
          <a:p>
            <a:r>
              <a:rPr lang="en-US" sz="3200" dirty="0"/>
              <a:t>Not using indexes ( customizations )</a:t>
            </a:r>
          </a:p>
          <a:p>
            <a:r>
              <a:rPr lang="en-US" sz="3200" dirty="0"/>
              <a:t>Poor loop architectures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908417-B545-00A6-F54A-7FAB51186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7652A9A1-D761-913C-B935-97668C1E85DD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D453D19B-EA24-8981-1447-B502A97AD1D1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ommon Problem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446EFC70-8126-7500-732F-5337C7257A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07789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1B0FC0-CA46-7DF5-33F5-E8798DB59C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EBB62BC5-3B31-F8E3-5301-1013A51C94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FB0259-3DED-CE00-13A9-6F09E586C3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Stagger</a:t>
            </a:r>
          </a:p>
          <a:p>
            <a:r>
              <a:rPr lang="en-GB" sz="3600" dirty="0"/>
              <a:t>Tweak</a:t>
            </a:r>
          </a:p>
          <a:p>
            <a:r>
              <a:rPr lang="en-GB" sz="3600" dirty="0"/>
              <a:t>Rewrite</a:t>
            </a:r>
          </a:p>
          <a:p>
            <a:endParaRPr lang="en-GB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F12CDF-3D96-0EDC-49C3-38548A0E7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845EA63-F694-70B0-FE1B-E4F6D7A9D2E2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3E5B1B38-3D05-BA7D-8E05-CF849DA7E3A5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Batch Job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E1340ADE-665E-4F04-C696-222601F492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176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01FA83-14D2-995E-F2BC-D795437DD0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B51526D8-DAAD-9AC8-6E95-FF6BCCE13F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EDE7EE-0B90-B29B-4B2F-2B8B981A5A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Move batch job times</a:t>
            </a:r>
          </a:p>
          <a:p>
            <a:pPr lvl="1"/>
            <a:r>
              <a:rPr lang="en-US" sz="2800" dirty="0"/>
              <a:t>Invoice after hours</a:t>
            </a:r>
          </a:p>
          <a:p>
            <a:pPr lvl="1"/>
            <a:r>
              <a:rPr lang="en-US" sz="2800" dirty="0"/>
              <a:t>Run reports in the middle of the night</a:t>
            </a:r>
          </a:p>
          <a:p>
            <a:pPr lvl="1"/>
            <a:r>
              <a:rPr lang="en-US" sz="2800" dirty="0"/>
              <a:t>Determine order of operations</a:t>
            </a:r>
          </a:p>
          <a:p>
            <a:pPr lvl="2"/>
            <a:r>
              <a:rPr lang="en-US" sz="2400" dirty="0"/>
              <a:t>What needs to happen on transaction date</a:t>
            </a:r>
          </a:p>
          <a:p>
            <a:pPr lvl="2"/>
            <a:r>
              <a:rPr lang="en-US" sz="2400" dirty="0"/>
              <a:t>What needs to happen before the next day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431D5D-E4F9-E5EC-4DB4-55E4CED38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3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882B4EF1-0FB9-1E5B-7A73-670E905F5C62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4FB709D0-4D70-C524-E541-51DD40433796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Stagger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7DBD382E-302F-DFCD-FDD9-818EB91D3B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42491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D8AE77-FCDD-6F0D-F085-247FE2E655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05C683-7CCA-2B00-4481-8EEC6A87B7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2CAE46-E07A-9971-6E95-3F60073D4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1C2DC6-236C-B5F0-22E6-FC26D66B4D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4657" y="1690688"/>
            <a:ext cx="7057143" cy="2990476"/>
          </a:xfrm>
          <a:prstGeom prst="rect">
            <a:avLst/>
          </a:prstGeom>
        </p:spPr>
      </p:pic>
      <p:sp>
        <p:nvSpPr>
          <p:cNvPr id="7" name="Arrow: Up 6">
            <a:extLst>
              <a:ext uri="{FF2B5EF4-FFF2-40B4-BE49-F238E27FC236}">
                <a16:creationId xmlns:a16="http://schemas.microsoft.com/office/drawing/2014/main" id="{978E3405-67C7-371C-1134-B6C56EF983B4}"/>
              </a:ext>
            </a:extLst>
          </p:cNvPr>
          <p:cNvSpPr/>
          <p:nvPr/>
        </p:nvSpPr>
        <p:spPr bwMode="auto">
          <a:xfrm rot="5400000">
            <a:off x="2477030" y="3434581"/>
            <a:ext cx="1195252" cy="1159647"/>
          </a:xfrm>
          <a:prstGeom prst="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309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EECD2-D2EA-E70F-E2C1-1AE633A619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7CD8D0-F57D-7CA7-7DCA-ED391D8BC2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68B8FD-7F59-1470-520F-41B8B5C5D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E805A8-E3D7-D702-3913-CE99782642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199" y="0"/>
            <a:ext cx="10378602" cy="6602953"/>
          </a:xfrm>
          <a:prstGeom prst="rect">
            <a:avLst/>
          </a:prstGeom>
        </p:spPr>
      </p:pic>
      <p:sp>
        <p:nvSpPr>
          <p:cNvPr id="6" name="Arrow: Up 5">
            <a:extLst>
              <a:ext uri="{FF2B5EF4-FFF2-40B4-BE49-F238E27FC236}">
                <a16:creationId xmlns:a16="http://schemas.microsoft.com/office/drawing/2014/main" id="{317FA24A-0C9C-E473-E89C-743EFC756F12}"/>
              </a:ext>
            </a:extLst>
          </p:cNvPr>
          <p:cNvSpPr/>
          <p:nvPr/>
        </p:nvSpPr>
        <p:spPr bwMode="auto">
          <a:xfrm>
            <a:off x="6521980" y="1579562"/>
            <a:ext cx="1195252" cy="1159647"/>
          </a:xfrm>
          <a:prstGeom prst="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340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51BD22-64B4-678F-BCBD-1FD78C9D3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746DB7-74C3-E464-CE62-EE77BE316F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D3BAC-2018-1EFB-8D16-A5A33BCB57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FBA2A6-45FF-1E2F-1250-50C6F847DC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200721"/>
            <a:ext cx="12436475" cy="4593082"/>
          </a:xfrm>
          <a:prstGeom prst="rect">
            <a:avLst/>
          </a:prstGeom>
        </p:spPr>
      </p:pic>
      <p:sp>
        <p:nvSpPr>
          <p:cNvPr id="6" name="Arrow: Up 5">
            <a:extLst>
              <a:ext uri="{FF2B5EF4-FFF2-40B4-BE49-F238E27FC236}">
                <a16:creationId xmlns:a16="http://schemas.microsoft.com/office/drawing/2014/main" id="{631FC1C1-D4C0-A854-7375-B99ED0C3E23E}"/>
              </a:ext>
            </a:extLst>
          </p:cNvPr>
          <p:cNvSpPr/>
          <p:nvPr/>
        </p:nvSpPr>
        <p:spPr bwMode="auto">
          <a:xfrm>
            <a:off x="9233430" y="3945755"/>
            <a:ext cx="1195252" cy="1159647"/>
          </a:xfrm>
          <a:prstGeom prst="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Arrow: Up 6">
            <a:extLst>
              <a:ext uri="{FF2B5EF4-FFF2-40B4-BE49-F238E27FC236}">
                <a16:creationId xmlns:a16="http://schemas.microsoft.com/office/drawing/2014/main" id="{F427A853-4327-195A-BE9B-229227B92476}"/>
              </a:ext>
            </a:extLst>
          </p:cNvPr>
          <p:cNvSpPr/>
          <p:nvPr/>
        </p:nvSpPr>
        <p:spPr bwMode="auto">
          <a:xfrm rot="5400000">
            <a:off x="6780027" y="4148614"/>
            <a:ext cx="1195252" cy="1159647"/>
          </a:xfrm>
          <a:prstGeom prst="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98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4E82D-F1BB-AB4E-0CDC-752684126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E6A6F9-60A9-31E6-8921-382ACBC265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436426-30E0-A0A3-4904-3E81D3F948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Some batch jobs have new settings</a:t>
            </a:r>
          </a:p>
          <a:p>
            <a:r>
              <a:rPr lang="en-US" sz="3200" dirty="0"/>
              <a:t>Max threads</a:t>
            </a:r>
          </a:p>
          <a:p>
            <a:r>
              <a:rPr lang="en-US" sz="3200" dirty="0"/>
              <a:t>Bundle size</a:t>
            </a:r>
          </a:p>
          <a:p>
            <a:r>
              <a:rPr lang="en-US" sz="3200" dirty="0"/>
              <a:t>Etc.</a:t>
            </a:r>
          </a:p>
          <a:p>
            <a:r>
              <a:rPr lang="en-US" sz="3200" dirty="0"/>
              <a:t>New Features</a:t>
            </a:r>
          </a:p>
          <a:p>
            <a:r>
              <a:rPr lang="en-US" sz="3200" dirty="0"/>
              <a:t>Filter on “performance” in Feature Management workspace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ED91C-DF51-04BC-09C7-5AF5F3ADF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7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49BEE680-0954-7AEF-1A75-76291C2D03C1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9F933870-2E0C-6363-90C7-B367F24F7BCB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weak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28573479-659D-EDDF-CAA3-A525A3E8B7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34537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C793A4-8FAC-BB75-EFDF-219858063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2873AE-AF85-8989-3637-BFCCA812E7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9FE46B-7DC4-94AA-F6DA-40C21A2FA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5F90DC-69BE-EA9C-4C88-A70BE7DC17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1" y="417410"/>
            <a:ext cx="11836400" cy="575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64452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D126BB-3CCF-CE19-4484-A77BA7644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FEBDD8-0AF8-5BDB-14CB-58177A7361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C6F59C-1BE0-010D-6877-BB4CE8938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EA4260-4800-2A75-7457-88C08BAF7A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651" y="471488"/>
            <a:ext cx="11845974" cy="5764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7477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2DF0A9-EB28-173D-93E5-5FECA8789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208472-03DD-72AA-F5DB-91683C213B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E91FBA-342A-2965-FDAD-B5E1EB4BF0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859F5D9-8916-C149-8801-874682E1D6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10004"/>
            <a:ext cx="12436475" cy="6174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26864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DD4684-F841-62A0-546E-26EFBF15ED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0440D71E-D730-7873-2EBA-D48307981F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B86D61-BD19-5ED3-13DC-25A8CF2B89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Use Cleanup Batch jobs</a:t>
            </a:r>
          </a:p>
          <a:p>
            <a:r>
              <a:rPr lang="en-US" sz="3200" dirty="0"/>
              <a:t>Go to module &gt; expand all &gt; search for “Cleanup” or “clean”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E484C1-5376-2B20-9C0A-2EE7C9C79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9F251BF6-DE90-75AA-270F-59599A3FB56F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2FD231B0-5F8E-AA9C-BB69-19060FB33114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Tweak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E4679429-55DC-43A2-4514-CE088AA4D1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14173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D4DAAF-DF8E-9EBB-C240-8CFBACED33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91AC8F8-A949-A5D5-B684-55BF272A5D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402431"/>
            <a:ext cx="12192000" cy="6053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32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1C9010-FCB5-02D5-3F7C-BE7C30F2FE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2B77884-D495-9354-2E04-BD897A6F1B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8709665" y="-8484681"/>
            <a:ext cx="30901666" cy="1534219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A2E6DD0-A053-0262-B997-99001C2509C4}"/>
              </a:ext>
            </a:extLst>
          </p:cNvPr>
          <p:cNvSpPr/>
          <p:nvPr/>
        </p:nvSpPr>
        <p:spPr bwMode="auto">
          <a:xfrm>
            <a:off x="4245568" y="1327694"/>
            <a:ext cx="3884508" cy="3989090"/>
          </a:xfrm>
          <a:prstGeom prst="rect">
            <a:avLst/>
          </a:prstGeom>
          <a:noFill/>
          <a:ln w="381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8944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BC77F3-CD5E-0F14-CFE8-6F80419CF5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D17FDDD-22E2-D750-6C80-3E4081122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402431"/>
            <a:ext cx="12192000" cy="6053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84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B54316-B9AA-1546-AE4E-85934D1E5B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ADF8617-9B03-8489-BC89-9B11E87E00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83713" y="-1107594"/>
            <a:ext cx="27710097" cy="1375763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13C51D6-BE4F-7F4F-45C7-4E39F3370693}"/>
              </a:ext>
            </a:extLst>
          </p:cNvPr>
          <p:cNvSpPr/>
          <p:nvPr/>
        </p:nvSpPr>
        <p:spPr bwMode="auto">
          <a:xfrm>
            <a:off x="5869093" y="59937"/>
            <a:ext cx="3466176" cy="2355917"/>
          </a:xfrm>
          <a:prstGeom prst="rect">
            <a:avLst/>
          </a:prstGeom>
          <a:noFill/>
          <a:ln w="381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29469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836F19-53BD-84B6-E00B-5D0215E8AB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9B37DD0-329A-D0C0-6A50-F2795B6E5C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402431"/>
            <a:ext cx="12192000" cy="6053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45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462CE-72D9-A211-7F0E-C3C1798AD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2E40730-15AA-9840-2718-44CC5AF553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7233766" y="-8153865"/>
            <a:ext cx="29425767" cy="1460943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EB69DA-82C2-9262-B7A5-C2284AB39DC7}"/>
              </a:ext>
            </a:extLst>
          </p:cNvPr>
          <p:cNvSpPr/>
          <p:nvPr/>
        </p:nvSpPr>
        <p:spPr bwMode="auto">
          <a:xfrm>
            <a:off x="4676350" y="1300303"/>
            <a:ext cx="3488587" cy="4997568"/>
          </a:xfrm>
          <a:prstGeom prst="rect">
            <a:avLst/>
          </a:prstGeom>
          <a:noFill/>
          <a:ln w="381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5086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EC2891-9FD6-A803-0494-C7D75D3C4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1D6F91C-E306-C7CE-DEE1-9FD823E138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402431"/>
            <a:ext cx="12192000" cy="6053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287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05D959-E9BD-825D-B98F-98BF9D4DDF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DF8EF4-490B-A19C-7483-4CBE93A3C1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941836" y="-7261958"/>
            <a:ext cx="28140891" cy="139715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F1064FC-F5E4-C754-7013-9EA038B923D3}"/>
              </a:ext>
            </a:extLst>
          </p:cNvPr>
          <p:cNvSpPr/>
          <p:nvPr/>
        </p:nvSpPr>
        <p:spPr bwMode="auto">
          <a:xfrm>
            <a:off x="4698761" y="3145444"/>
            <a:ext cx="3466176" cy="3152427"/>
          </a:xfrm>
          <a:prstGeom prst="rect">
            <a:avLst/>
          </a:prstGeom>
          <a:noFill/>
          <a:ln w="381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7576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171605-7DE7-7802-C136-F7007B8E51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E206C632-BB7B-E323-5C23-ACBB43B2D5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5F4444-24AB-CC8D-2FE5-7F9CF4FF1C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“Classic” Batch Job</a:t>
            </a:r>
          </a:p>
          <a:p>
            <a:r>
              <a:rPr lang="en-US" sz="3200" dirty="0"/>
              <a:t>Individual Task Model</a:t>
            </a:r>
          </a:p>
          <a:p>
            <a:r>
              <a:rPr lang="en-US" sz="3200" dirty="0"/>
              <a:t>Batch-Bundle</a:t>
            </a:r>
          </a:p>
          <a:p>
            <a:r>
              <a:rPr lang="en-US" sz="3200" dirty="0"/>
              <a:t>Top-Picking</a:t>
            </a:r>
          </a:p>
          <a:p>
            <a:r>
              <a:rPr lang="en-US" sz="3200" dirty="0"/>
              <a:t>Each type has pros and cons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59B089-EE73-439D-AFC7-CAB554D20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69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C00C7737-8971-9757-F7F2-6D1AE1FEC551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26537809-CE76-0002-7149-9794FF336AEC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ustom Batch Job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B74EEB79-197B-8BA1-C2E6-833C8A2BBD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2558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13BF6-89E3-4853-8E9E-53D15D58B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A02392-1696-F396-D193-CBD3E820C6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EDD385-D9AC-3552-B87E-1D68E39C3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D49045-DFC5-6AEE-E378-4AD1F4F3EE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10004"/>
            <a:ext cx="12436475" cy="6174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64919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00DFD-DD57-867F-56A0-6EE41BF1E3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4143581C-D2DB-F888-FB27-CBD58C8109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5598A0-56DD-CE62-165F-24E81C69D1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0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9F320893-C2E1-ADB1-6C47-C357A683D37F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5D9E69F2-EAA6-CC81-4A4B-73F50C922F9B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ustom Batch Job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924C5199-ED4A-BBC6-129D-1117AD9CB2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499F19B-8899-3341-E108-575969ED44B5}"/>
              </a:ext>
            </a:extLst>
          </p:cNvPr>
          <p:cNvSpPr txBox="1">
            <a:spLocks/>
          </p:cNvSpPr>
          <p:nvPr/>
        </p:nvSpPr>
        <p:spPr>
          <a:xfrm>
            <a:off x="564242" y="1825625"/>
            <a:ext cx="5038106" cy="4191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assic batch job</a:t>
            </a:r>
          </a:p>
          <a:p>
            <a:pPr lvl="1"/>
            <a:r>
              <a:rPr lang="en-US" dirty="0"/>
              <a:t>Slow but cheap</a:t>
            </a:r>
          </a:p>
          <a:p>
            <a:pPr lvl="1"/>
            <a:r>
              <a:rPr lang="en-US" dirty="0"/>
              <a:t>Single Threaded</a:t>
            </a:r>
          </a:p>
          <a:p>
            <a:pPr lvl="1"/>
            <a:r>
              <a:rPr lang="en-US" dirty="0"/>
              <a:t>Tried-and-True method that work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8576F7A-E1BE-FB26-95A3-E5692A9E3758}"/>
              </a:ext>
            </a:extLst>
          </p:cNvPr>
          <p:cNvSpPr txBox="1">
            <a:spLocks/>
          </p:cNvSpPr>
          <p:nvPr/>
        </p:nvSpPr>
        <p:spPr>
          <a:xfrm>
            <a:off x="6059547" y="1825625"/>
            <a:ext cx="5486400" cy="419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145869F-DECC-690F-CA9F-1889959849D0}"/>
              </a:ext>
            </a:extLst>
          </p:cNvPr>
          <p:cNvSpPr txBox="1">
            <a:spLocks/>
          </p:cNvSpPr>
          <p:nvPr/>
        </p:nvSpPr>
        <p:spPr>
          <a:xfrm>
            <a:off x="5874664" y="1857729"/>
            <a:ext cx="5038106" cy="4191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dividual Task Model</a:t>
            </a:r>
          </a:p>
          <a:p>
            <a:pPr lvl="1"/>
            <a:r>
              <a:rPr lang="en-US" dirty="0"/>
              <a:t>Fast but expensive</a:t>
            </a:r>
          </a:p>
          <a:p>
            <a:pPr lvl="1"/>
            <a:r>
              <a:rPr lang="en-US" dirty="0"/>
              <a:t>“all threaded”</a:t>
            </a:r>
          </a:p>
          <a:p>
            <a:pPr lvl="1"/>
            <a:r>
              <a:rPr lang="en-US" dirty="0"/>
              <a:t>Schedule everything and let batch sort it out</a:t>
            </a:r>
          </a:p>
        </p:txBody>
      </p:sp>
    </p:spTree>
    <p:extLst>
      <p:ext uri="{BB962C8B-B14F-4D97-AF65-F5344CB8AC3E}">
        <p14:creationId xmlns:p14="http://schemas.microsoft.com/office/powerpoint/2010/main" val="193205632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97005D-BB17-BE6C-007D-D713A76D64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08FCE1C5-E111-860F-0F0B-58C28BC980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D68CD-31D4-EF9A-241F-0E7C68F53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1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3EA85C66-026D-A470-9F16-4E7BB29BD028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F600C8E8-569D-F5C6-F412-8549C536DD52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ustom Batch Job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B5B8D4A2-CF46-40BD-B1AD-00E468A718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C2AF3B5-1A06-53A9-072A-E90CA251F82F}"/>
              </a:ext>
            </a:extLst>
          </p:cNvPr>
          <p:cNvSpPr txBox="1">
            <a:spLocks/>
          </p:cNvSpPr>
          <p:nvPr/>
        </p:nvSpPr>
        <p:spPr>
          <a:xfrm>
            <a:off x="564242" y="1825625"/>
            <a:ext cx="5038106" cy="4191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atch-Bundle</a:t>
            </a:r>
          </a:p>
          <a:p>
            <a:pPr lvl="1"/>
            <a:r>
              <a:rPr lang="en-US" dirty="0"/>
              <a:t>Moderate to Fast with some cost</a:t>
            </a:r>
          </a:p>
          <a:p>
            <a:pPr lvl="1"/>
            <a:r>
              <a:rPr lang="en-US" dirty="0"/>
              <a:t>Groups of tasks</a:t>
            </a:r>
          </a:p>
          <a:p>
            <a:pPr lvl="1"/>
            <a:r>
              <a:rPr lang="en-US" dirty="0"/>
              <a:t>Groups get completed 1 group at a time with multiple groups running at a tim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692F6A9-0F1C-C652-F47E-F175F91F5794}"/>
              </a:ext>
            </a:extLst>
          </p:cNvPr>
          <p:cNvSpPr txBox="1">
            <a:spLocks/>
          </p:cNvSpPr>
          <p:nvPr/>
        </p:nvSpPr>
        <p:spPr>
          <a:xfrm>
            <a:off x="6059547" y="1825625"/>
            <a:ext cx="5486400" cy="419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9088114-A6B3-C9A7-D152-4AA4923B49A5}"/>
              </a:ext>
            </a:extLst>
          </p:cNvPr>
          <p:cNvSpPr txBox="1">
            <a:spLocks/>
          </p:cNvSpPr>
          <p:nvPr/>
        </p:nvSpPr>
        <p:spPr>
          <a:xfrm>
            <a:off x="5874664" y="1857729"/>
            <a:ext cx="5038106" cy="4191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op-Picking</a:t>
            </a:r>
          </a:p>
          <a:p>
            <a:pPr lvl="1"/>
            <a:r>
              <a:rPr lang="en-US" dirty="0"/>
              <a:t>Fast with some temporal cost</a:t>
            </a:r>
          </a:p>
          <a:p>
            <a:pPr lvl="1"/>
            <a:r>
              <a:rPr lang="en-US" dirty="0"/>
              <a:t>“x threaded”</a:t>
            </a:r>
          </a:p>
          <a:p>
            <a:pPr lvl="1"/>
            <a:r>
              <a:rPr lang="en-US" dirty="0"/>
              <a:t>Setup x number of threads / lanes to execute all the work</a:t>
            </a:r>
          </a:p>
        </p:txBody>
      </p:sp>
    </p:spTree>
    <p:extLst>
      <p:ext uri="{BB962C8B-B14F-4D97-AF65-F5344CB8AC3E}">
        <p14:creationId xmlns:p14="http://schemas.microsoft.com/office/powerpoint/2010/main" val="353939126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C27E5-8B12-6CF2-AC03-D3727389BD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C375B7EA-FBE1-D281-F4B7-9F022E2092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0B444E-4805-CBAB-BDD8-DAB0A47B47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ta entities from Microsoft are built for the world</a:t>
            </a:r>
          </a:p>
          <a:p>
            <a:r>
              <a:rPr lang="en-US" dirty="0"/>
              <a:t>Maybe not for you</a:t>
            </a:r>
          </a:p>
          <a:p>
            <a:r>
              <a:rPr lang="en-US" dirty="0"/>
              <a:t>Includes specializations in all countries Microsoft supports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F45C14-47FD-3AE4-2F1F-D8503DAD3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2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53D263EB-62E3-2A06-81B6-EF5A47994A47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F03616C2-14F0-70AA-6E1B-37E559AC8050}"/>
              </a:ext>
            </a:extLst>
          </p:cNvPr>
          <p:cNvSpPr/>
          <p:nvPr/>
        </p:nvSpPr>
        <p:spPr>
          <a:xfrm>
            <a:off x="676534" y="581362"/>
            <a:ext cx="7415414" cy="58477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Data Entities Have A Similar Problem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064BB1D3-B1A4-C0F8-CD7E-C154D62D17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35641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E066D-12AF-FEC1-6670-1F7B24630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BD354E-2415-31AF-0AC6-277EF12D20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C4B32D-82E4-B05F-BC7C-DF69D9BB4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3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1162E052-7046-D926-85E7-7CA50D79CA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73" y="180975"/>
            <a:ext cx="10285777" cy="654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ED03CEA-D9B1-9FAB-70A8-8C109A9E6DD8}"/>
              </a:ext>
            </a:extLst>
          </p:cNvPr>
          <p:cNvSpPr/>
          <p:nvPr/>
        </p:nvSpPr>
        <p:spPr bwMode="auto">
          <a:xfrm>
            <a:off x="7518400" y="2106612"/>
            <a:ext cx="3405892" cy="3926977"/>
          </a:xfrm>
          <a:prstGeom prst="rect">
            <a:avLst/>
          </a:prstGeom>
          <a:noFill/>
          <a:ln w="381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263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0AD8A5-2510-D2F2-26D2-F184FABF4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121625A5-5477-8BAA-CF0E-7685111695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BDC9B2-9606-4421-48CD-A451E9970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4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6E947F50-25E3-2438-C9A2-C8D407A3D03F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C01D5A8A-6844-94EA-1969-8B5E43137136}"/>
              </a:ext>
            </a:extLst>
          </p:cNvPr>
          <p:cNvSpPr/>
          <p:nvPr/>
        </p:nvSpPr>
        <p:spPr>
          <a:xfrm>
            <a:off x="676534" y="581362"/>
            <a:ext cx="7415414" cy="58477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rchive If you Can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AE193FD1-264D-6EF4-D1CE-1842EC4D1F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  <p:pic>
        <p:nvPicPr>
          <p:cNvPr id="1026" name="Picture 2" descr="Business application data lifecycle diagram">
            <a:extLst>
              <a:ext uri="{FF2B5EF4-FFF2-40B4-BE49-F238E27FC236}">
                <a16:creationId xmlns:a16="http://schemas.microsoft.com/office/drawing/2014/main" id="{DF24B92D-5E2B-579E-E47B-CF0280C9F2C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1915" y="2248449"/>
            <a:ext cx="9288171" cy="3505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676879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F77142-F257-2CF2-0054-BE3BC76467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F122DF4D-BD06-7E01-FC71-0B43DDACC4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B8EC21-D5D6-D71A-133E-C3AA8C608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urrently Supported</a:t>
            </a:r>
          </a:p>
          <a:p>
            <a:pPr lvl="1"/>
            <a:r>
              <a:rPr lang="en-US" dirty="0"/>
              <a:t>Dynamics 365 Finance General ledger</a:t>
            </a:r>
          </a:p>
          <a:p>
            <a:pPr lvl="1"/>
            <a:r>
              <a:rPr lang="en-US" dirty="0"/>
              <a:t>Dynamics 365 Finance Tax transactions</a:t>
            </a:r>
          </a:p>
          <a:p>
            <a:pPr lvl="1"/>
            <a:r>
              <a:rPr lang="en-US" dirty="0"/>
              <a:t>Dynamics 365 Supply Chain Management Inventory transactions</a:t>
            </a:r>
          </a:p>
          <a:p>
            <a:pPr lvl="1"/>
            <a:r>
              <a:rPr lang="en-US" dirty="0"/>
              <a:t>Dynamics 365 Supply Chain Management Inventory journals</a:t>
            </a:r>
          </a:p>
          <a:p>
            <a:pPr lvl="1"/>
            <a:r>
              <a:rPr lang="en-US" dirty="0"/>
              <a:t>Dynamics 365 Supply Chain Management Sales orders</a:t>
            </a:r>
          </a:p>
          <a:p>
            <a:r>
              <a:rPr lang="en-US" dirty="0">
                <a:hlinkClick r:id="rId3"/>
              </a:rPr>
              <a:t>https://www.youtube.com/watch?v=wbZ-g4AGjc4</a:t>
            </a:r>
            <a:endParaRPr lang="en-US" dirty="0"/>
          </a:p>
          <a:p>
            <a:endParaRPr lang="en-US" dirty="0"/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6CA7F-4435-580D-7138-2B39DE275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5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0F0A8D23-DF8D-9972-D8DE-2CEF53D78FCB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F0AB0E7E-59E2-E7DB-795E-B2C10EBA4889}"/>
              </a:ext>
            </a:extLst>
          </p:cNvPr>
          <p:cNvSpPr/>
          <p:nvPr/>
        </p:nvSpPr>
        <p:spPr>
          <a:xfrm>
            <a:off x="676534" y="581362"/>
            <a:ext cx="7415414" cy="58477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rchive If you Can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AF710A96-F36D-AF2B-E598-5F24615F07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02949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396685-0776-B33B-3DE8-F631CC20AF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E320025D-50EB-9809-BEEC-8C618424BD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284B7A-BA68-8F9D-7397-FF16D35F00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long term-retained data is read-only.</a:t>
            </a:r>
          </a:p>
          <a:p>
            <a:r>
              <a:rPr lang="en-US" dirty="0"/>
              <a:t>The X++ delete action isn't honored when a data archival policy is run to move data out of the live finance and operations database</a:t>
            </a:r>
          </a:p>
          <a:p>
            <a:r>
              <a:rPr lang="en-US" dirty="0"/>
              <a:t>Finance and operations attachments aren't currently supported</a:t>
            </a:r>
          </a:p>
          <a:p>
            <a:r>
              <a:rPr lang="en-US" dirty="0"/>
              <a:t>The archival process for scenarios that involve Dataverse long term retention has multiple stages that run sequentially in the background. The process can take up to 14 days.</a:t>
            </a:r>
          </a:p>
          <a:p>
            <a:r>
              <a:rPr lang="en-US" dirty="0"/>
              <a:t>The archived data in Dataverse long term retention can't be moved back to the live application 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067F3E-80B1-AC51-ECE0-16213992F7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6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33774115-C09E-F52A-E76A-3186B3F7DF35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D6FF0989-47C3-96EF-337C-407542CF15B2}"/>
              </a:ext>
            </a:extLst>
          </p:cNvPr>
          <p:cNvSpPr/>
          <p:nvPr/>
        </p:nvSpPr>
        <p:spPr>
          <a:xfrm>
            <a:off x="676534" y="581362"/>
            <a:ext cx="7415414" cy="58477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rchive Callout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70008F3D-AB5A-E40B-B8E3-A2D1F87D1E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880286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139E1E-17D6-577F-A06E-726D29FDE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755E066-CCE6-9657-E50D-115285E69A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755E066-CCE6-9657-E50D-115285E69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26485B5D-472D-9FED-2A64-59D87CBB89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6" name="Rectángulo 6175">
            <a:extLst>
              <a:ext uri="{FF2B5EF4-FFF2-40B4-BE49-F238E27FC236}">
                <a16:creationId xmlns:a16="http://schemas.microsoft.com/office/drawing/2014/main" id="{00845C62-566D-948C-4268-04F66A8DFE21}"/>
              </a:ext>
            </a:extLst>
          </p:cNvPr>
          <p:cNvSpPr/>
          <p:nvPr/>
        </p:nvSpPr>
        <p:spPr>
          <a:xfrm>
            <a:off x="0" y="-36682"/>
            <a:ext cx="12214702" cy="2683845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任意多边形: 形状 16">
            <a:extLst>
              <a:ext uri="{FF2B5EF4-FFF2-40B4-BE49-F238E27FC236}">
                <a16:creationId xmlns:a16="http://schemas.microsoft.com/office/drawing/2014/main" id="{BCF50790-F931-CFA4-C136-952653FAE0A2}"/>
              </a:ext>
            </a:extLst>
          </p:cNvPr>
          <p:cNvSpPr/>
          <p:nvPr/>
        </p:nvSpPr>
        <p:spPr>
          <a:xfrm rot="10800000">
            <a:off x="27305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任意多边形: 形状 16">
            <a:extLst>
              <a:ext uri="{FF2B5EF4-FFF2-40B4-BE49-F238E27FC236}">
                <a16:creationId xmlns:a16="http://schemas.microsoft.com/office/drawing/2014/main" id="{B790B877-F52E-A714-1453-7FAEC9A2A094}"/>
              </a:ext>
            </a:extLst>
          </p:cNvPr>
          <p:cNvSpPr/>
          <p:nvPr/>
        </p:nvSpPr>
        <p:spPr>
          <a:xfrm rot="10800000">
            <a:off x="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任意多边形: 形状 16">
            <a:extLst>
              <a:ext uri="{FF2B5EF4-FFF2-40B4-BE49-F238E27FC236}">
                <a16:creationId xmlns:a16="http://schemas.microsoft.com/office/drawing/2014/main" id="{6D0EAB13-4ED5-6CAA-09E3-FF512CC006FB}"/>
              </a:ext>
            </a:extLst>
          </p:cNvPr>
          <p:cNvSpPr/>
          <p:nvPr/>
        </p:nvSpPr>
        <p:spPr>
          <a:xfrm rot="10800000">
            <a:off x="27466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任意多边形: 形状 16">
            <a:extLst>
              <a:ext uri="{FF2B5EF4-FFF2-40B4-BE49-F238E27FC236}">
                <a16:creationId xmlns:a16="http://schemas.microsoft.com/office/drawing/2014/main" id="{30E63BE3-EF92-507E-958E-EB8C34845E7B}"/>
              </a:ext>
            </a:extLst>
          </p:cNvPr>
          <p:cNvSpPr/>
          <p:nvPr/>
        </p:nvSpPr>
        <p:spPr>
          <a:xfrm rot="10800000">
            <a:off x="161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任意多边形: 形状 16">
            <a:extLst>
              <a:ext uri="{FF2B5EF4-FFF2-40B4-BE49-F238E27FC236}">
                <a16:creationId xmlns:a16="http://schemas.microsoft.com/office/drawing/2014/main" id="{D168A252-BD39-682A-8C42-57208D5AF4C3}"/>
              </a:ext>
            </a:extLst>
          </p:cNvPr>
          <p:cNvSpPr/>
          <p:nvPr/>
        </p:nvSpPr>
        <p:spPr>
          <a:xfrm rot="10800000">
            <a:off x="54771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任意多边形: 形状 16">
            <a:extLst>
              <a:ext uri="{FF2B5EF4-FFF2-40B4-BE49-F238E27FC236}">
                <a16:creationId xmlns:a16="http://schemas.microsoft.com/office/drawing/2014/main" id="{135A14C3-7D63-3B78-614E-43697C4A21CB}"/>
              </a:ext>
            </a:extLst>
          </p:cNvPr>
          <p:cNvSpPr/>
          <p:nvPr/>
        </p:nvSpPr>
        <p:spPr>
          <a:xfrm rot="10800000">
            <a:off x="82203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8F28B8A8-D2A7-6663-76AC-4C64E06F6544}"/>
              </a:ext>
            </a:extLst>
          </p:cNvPr>
          <p:cNvSpPr/>
          <p:nvPr/>
        </p:nvSpPr>
        <p:spPr>
          <a:xfrm rot="10800000">
            <a:off x="10963577" y="435430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4" name="任意多边形: 形状 16">
            <a:extLst>
              <a:ext uri="{FF2B5EF4-FFF2-40B4-BE49-F238E27FC236}">
                <a16:creationId xmlns:a16="http://schemas.microsoft.com/office/drawing/2014/main" id="{F149A0B5-2411-0980-DD37-8117CA3E8E7E}"/>
              </a:ext>
            </a:extLst>
          </p:cNvPr>
          <p:cNvSpPr/>
          <p:nvPr/>
        </p:nvSpPr>
        <p:spPr>
          <a:xfrm rot="10800000">
            <a:off x="54610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任意多边形: 形状 16">
            <a:extLst>
              <a:ext uri="{FF2B5EF4-FFF2-40B4-BE49-F238E27FC236}">
                <a16:creationId xmlns:a16="http://schemas.microsoft.com/office/drawing/2014/main" id="{848B216A-70A6-5076-E5A8-8A82D79A8891}"/>
              </a:ext>
            </a:extLst>
          </p:cNvPr>
          <p:cNvSpPr/>
          <p:nvPr/>
        </p:nvSpPr>
        <p:spPr>
          <a:xfrm rot="10800000">
            <a:off x="82042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1A01457A-5ACC-78D8-CBC9-F190B4F7482F}"/>
              </a:ext>
            </a:extLst>
          </p:cNvPr>
          <p:cNvSpPr/>
          <p:nvPr/>
        </p:nvSpPr>
        <p:spPr>
          <a:xfrm rot="10800000">
            <a:off x="10947400" y="262039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017650-44AD-89DA-80B0-F823A9BDD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955675"/>
          </a:xfrm>
        </p:spPr>
        <p:txBody>
          <a:bodyPr/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 Takeaway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89B343-65D9-48AA-9097-43DFFB38AB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7</a:t>
            </a:fld>
            <a:endParaRPr lang="en-US" dirty="0"/>
          </a:p>
        </p:txBody>
      </p:sp>
      <p:sp>
        <p:nvSpPr>
          <p:cNvPr id="11" name="Freeform 46">
            <a:extLst>
              <a:ext uri="{FF2B5EF4-FFF2-40B4-BE49-F238E27FC236}">
                <a16:creationId xmlns:a16="http://schemas.microsoft.com/office/drawing/2014/main" id="{5457EFED-F12A-1001-723C-4FBE8FBDE7BC}"/>
              </a:ext>
            </a:extLst>
          </p:cNvPr>
          <p:cNvSpPr/>
          <p:nvPr/>
        </p:nvSpPr>
        <p:spPr>
          <a:xfrm>
            <a:off x="527958" y="1694997"/>
            <a:ext cx="264704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Freeform 46">
            <a:extLst>
              <a:ext uri="{FF2B5EF4-FFF2-40B4-BE49-F238E27FC236}">
                <a16:creationId xmlns:a16="http://schemas.microsoft.com/office/drawing/2014/main" id="{16C5BFB8-1898-DF0C-237E-EDD9AC51674A}"/>
              </a:ext>
            </a:extLst>
          </p:cNvPr>
          <p:cNvSpPr/>
          <p:nvPr/>
        </p:nvSpPr>
        <p:spPr>
          <a:xfrm>
            <a:off x="3368525" y="1694997"/>
            <a:ext cx="264704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Freeform 46">
            <a:extLst>
              <a:ext uri="{FF2B5EF4-FFF2-40B4-BE49-F238E27FC236}">
                <a16:creationId xmlns:a16="http://schemas.microsoft.com/office/drawing/2014/main" id="{263E336D-1090-8596-1FB3-42613BD2C9D3}"/>
              </a:ext>
            </a:extLst>
          </p:cNvPr>
          <p:cNvSpPr/>
          <p:nvPr/>
        </p:nvSpPr>
        <p:spPr>
          <a:xfrm>
            <a:off x="6209092" y="1694997"/>
            <a:ext cx="2647042" cy="3978275"/>
          </a:xfrm>
          <a:prstGeom prst="roundRect">
            <a:avLst>
              <a:gd name="adj" fmla="val 4406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Freeform 46">
            <a:extLst>
              <a:ext uri="{FF2B5EF4-FFF2-40B4-BE49-F238E27FC236}">
                <a16:creationId xmlns:a16="http://schemas.microsoft.com/office/drawing/2014/main" id="{D6815A52-4B53-191A-DB54-3EE6ECFF77F3}"/>
              </a:ext>
            </a:extLst>
          </p:cNvPr>
          <p:cNvSpPr/>
          <p:nvPr/>
        </p:nvSpPr>
        <p:spPr>
          <a:xfrm>
            <a:off x="9049658" y="1694997"/>
            <a:ext cx="264704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9578F55C-DAF8-9C6C-BB9E-AB6278886E00}"/>
              </a:ext>
            </a:extLst>
          </p:cNvPr>
          <p:cNvSpPr txBox="1">
            <a:spLocks/>
          </p:cNvSpPr>
          <p:nvPr/>
        </p:nvSpPr>
        <p:spPr>
          <a:xfrm>
            <a:off x="715283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B384C422-7570-60C4-3BB9-0C689DB919FF}"/>
              </a:ext>
            </a:extLst>
          </p:cNvPr>
          <p:cNvSpPr txBox="1">
            <a:spLocks/>
          </p:cNvSpPr>
          <p:nvPr/>
        </p:nvSpPr>
        <p:spPr>
          <a:xfrm>
            <a:off x="3561170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92675ACE-C4DB-7920-0F73-E79D69E73079}"/>
              </a:ext>
            </a:extLst>
          </p:cNvPr>
          <p:cNvSpPr txBox="1">
            <a:spLocks/>
          </p:cNvSpPr>
          <p:nvPr/>
        </p:nvSpPr>
        <p:spPr>
          <a:xfrm>
            <a:off x="6401737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9E9990E5-943F-9496-9B0A-7648228EAA38}"/>
              </a:ext>
            </a:extLst>
          </p:cNvPr>
          <p:cNvSpPr txBox="1">
            <a:spLocks/>
          </p:cNvSpPr>
          <p:nvPr/>
        </p:nvSpPr>
        <p:spPr>
          <a:xfrm>
            <a:off x="9242303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Rectángulo 6175">
            <a:extLst>
              <a:ext uri="{FF2B5EF4-FFF2-40B4-BE49-F238E27FC236}">
                <a16:creationId xmlns:a16="http://schemas.microsoft.com/office/drawing/2014/main" id="{5499C35A-838C-9406-30D9-0BD0BEC9E4F7}"/>
              </a:ext>
            </a:extLst>
          </p:cNvPr>
          <p:cNvSpPr/>
          <p:nvPr/>
        </p:nvSpPr>
        <p:spPr>
          <a:xfrm>
            <a:off x="0" y="-72561"/>
            <a:ext cx="12214702" cy="507989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DB7A6EE3-162D-2249-8CC6-BD1A77E5AC59}"/>
              </a:ext>
            </a:extLst>
          </p:cNvPr>
          <p:cNvSpPr txBox="1">
            <a:spLocks/>
          </p:cNvSpPr>
          <p:nvPr/>
        </p:nvSpPr>
        <p:spPr>
          <a:xfrm>
            <a:off x="720600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C3CF1FB0-487B-6500-7ECB-E4FAF4145843}"/>
              </a:ext>
            </a:extLst>
          </p:cNvPr>
          <p:cNvSpPr txBox="1">
            <a:spLocks/>
          </p:cNvSpPr>
          <p:nvPr/>
        </p:nvSpPr>
        <p:spPr>
          <a:xfrm>
            <a:off x="3561167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AA700D3A-337A-7F16-A6DD-AF7D237F0486}"/>
              </a:ext>
            </a:extLst>
          </p:cNvPr>
          <p:cNvSpPr txBox="1">
            <a:spLocks/>
          </p:cNvSpPr>
          <p:nvPr/>
        </p:nvSpPr>
        <p:spPr>
          <a:xfrm>
            <a:off x="6401734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04452FC4-1C31-3397-2F47-489A9BA88523}"/>
              </a:ext>
            </a:extLst>
          </p:cNvPr>
          <p:cNvSpPr txBox="1">
            <a:spLocks/>
          </p:cNvSpPr>
          <p:nvPr/>
        </p:nvSpPr>
        <p:spPr>
          <a:xfrm>
            <a:off x="9242300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7C159754-CF3D-50CC-B412-8921B8B330DB}"/>
              </a:ext>
            </a:extLst>
          </p:cNvPr>
          <p:cNvSpPr txBox="1">
            <a:spLocks/>
          </p:cNvSpPr>
          <p:nvPr/>
        </p:nvSpPr>
        <p:spPr>
          <a:xfrm>
            <a:off x="715283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sonalize screens and workspaces for your specific workload and remove unused fields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AD94FF6D-278E-DD05-90C1-FD09173FAFF7}"/>
              </a:ext>
            </a:extLst>
          </p:cNvPr>
          <p:cNvSpPr txBox="1">
            <a:spLocks/>
          </p:cNvSpPr>
          <p:nvPr/>
        </p:nvSpPr>
        <p:spPr>
          <a:xfrm>
            <a:off x="3561170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lore new product offerings from Microsoft like data entities, features, misc.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A1D9EE8E-D61E-019A-0966-EDD62B534C77}"/>
              </a:ext>
            </a:extLst>
          </p:cNvPr>
          <p:cNvSpPr txBox="1">
            <a:spLocks/>
          </p:cNvSpPr>
          <p:nvPr/>
        </p:nvSpPr>
        <p:spPr>
          <a:xfrm>
            <a:off x="6401737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cument and report slow processes for admins and developers to review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FFADF552-6D14-8E2C-F6CE-55FF9778B6BD}"/>
              </a:ext>
            </a:extLst>
          </p:cNvPr>
          <p:cNvSpPr txBox="1">
            <a:spLocks/>
          </p:cNvSpPr>
          <p:nvPr/>
        </p:nvSpPr>
        <p:spPr>
          <a:xfrm>
            <a:off x="9242303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 Batch, if possible, with alerts and workspaces to focus on completing tasks and highlighting work left to complete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80AABD48-677A-6C3A-C36F-6678C1445681}"/>
              </a:ext>
            </a:extLst>
          </p:cNvPr>
          <p:cNvCxnSpPr>
            <a:cxnSpLocks/>
          </p:cNvCxnSpPr>
          <p:nvPr/>
        </p:nvCxnSpPr>
        <p:spPr>
          <a:xfrm>
            <a:off x="723324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976574A-C2EB-2165-C80A-B25412F452FE}"/>
              </a:ext>
            </a:extLst>
          </p:cNvPr>
          <p:cNvCxnSpPr>
            <a:cxnSpLocks/>
          </p:cNvCxnSpPr>
          <p:nvPr/>
        </p:nvCxnSpPr>
        <p:spPr>
          <a:xfrm>
            <a:off x="3563891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FA4F30B-D2CE-9A1B-D49D-B9E128268057}"/>
              </a:ext>
            </a:extLst>
          </p:cNvPr>
          <p:cNvCxnSpPr>
            <a:cxnSpLocks/>
          </p:cNvCxnSpPr>
          <p:nvPr/>
        </p:nvCxnSpPr>
        <p:spPr>
          <a:xfrm>
            <a:off x="6404458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BBFC2BD-D7CD-524D-634C-71D5E4979F90}"/>
              </a:ext>
            </a:extLst>
          </p:cNvPr>
          <p:cNvCxnSpPr>
            <a:cxnSpLocks/>
          </p:cNvCxnSpPr>
          <p:nvPr/>
        </p:nvCxnSpPr>
        <p:spPr>
          <a:xfrm>
            <a:off x="9245024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>
            <a:extLst>
              <a:ext uri="{FF2B5EF4-FFF2-40B4-BE49-F238E27FC236}">
                <a16:creationId xmlns:a16="http://schemas.microsoft.com/office/drawing/2014/main" id="{8A9C5413-21CB-F4E7-0FD9-A1E7166776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3843" y="4384438"/>
            <a:ext cx="1849041" cy="2214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20918B96-99BF-F082-31D7-49FE2C5A25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0616" y="4397176"/>
            <a:ext cx="1793570" cy="2214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D4FE8DBB-E114-12F5-3393-20EBDE6AB3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440" y="4395794"/>
            <a:ext cx="1793570" cy="2202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96ABD587-7409-936F-0B60-F5666353C1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841" y="4437603"/>
            <a:ext cx="2174212" cy="2234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2524A64-C14C-91B3-D15D-390F8908AA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8191" y="-277110"/>
            <a:ext cx="2617415" cy="1176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224900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67E625-947C-B502-AAD4-1CE18974A1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9704874F-3890-DE75-E3DC-82C6CD2DC3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9704874F-3890-DE75-E3DC-82C6CD2DC3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5E24E4F1-579D-7C28-263F-10534DA92C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6" name="Rectángulo 6175">
            <a:extLst>
              <a:ext uri="{FF2B5EF4-FFF2-40B4-BE49-F238E27FC236}">
                <a16:creationId xmlns:a16="http://schemas.microsoft.com/office/drawing/2014/main" id="{7721FF46-71E7-0781-F341-220002969A81}"/>
              </a:ext>
            </a:extLst>
          </p:cNvPr>
          <p:cNvSpPr/>
          <p:nvPr/>
        </p:nvSpPr>
        <p:spPr>
          <a:xfrm>
            <a:off x="0" y="-36682"/>
            <a:ext cx="12214702" cy="2683845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任意多边形: 形状 16">
            <a:extLst>
              <a:ext uri="{FF2B5EF4-FFF2-40B4-BE49-F238E27FC236}">
                <a16:creationId xmlns:a16="http://schemas.microsoft.com/office/drawing/2014/main" id="{3272846C-A482-553F-A189-7F2DDD72BC22}"/>
              </a:ext>
            </a:extLst>
          </p:cNvPr>
          <p:cNvSpPr/>
          <p:nvPr/>
        </p:nvSpPr>
        <p:spPr>
          <a:xfrm rot="10800000">
            <a:off x="27305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任意多边形: 形状 16">
            <a:extLst>
              <a:ext uri="{FF2B5EF4-FFF2-40B4-BE49-F238E27FC236}">
                <a16:creationId xmlns:a16="http://schemas.microsoft.com/office/drawing/2014/main" id="{C70C10DC-EEA0-5DF8-6264-BD086A6F9CD3}"/>
              </a:ext>
            </a:extLst>
          </p:cNvPr>
          <p:cNvSpPr/>
          <p:nvPr/>
        </p:nvSpPr>
        <p:spPr>
          <a:xfrm rot="10800000">
            <a:off x="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任意多边形: 形状 16">
            <a:extLst>
              <a:ext uri="{FF2B5EF4-FFF2-40B4-BE49-F238E27FC236}">
                <a16:creationId xmlns:a16="http://schemas.microsoft.com/office/drawing/2014/main" id="{A8BA8B5D-D48B-D75C-B268-A6D708B591FD}"/>
              </a:ext>
            </a:extLst>
          </p:cNvPr>
          <p:cNvSpPr/>
          <p:nvPr/>
        </p:nvSpPr>
        <p:spPr>
          <a:xfrm rot="10800000">
            <a:off x="27466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任意多边形: 形状 16">
            <a:extLst>
              <a:ext uri="{FF2B5EF4-FFF2-40B4-BE49-F238E27FC236}">
                <a16:creationId xmlns:a16="http://schemas.microsoft.com/office/drawing/2014/main" id="{35519369-5B97-2A32-0419-BB930F0F8205}"/>
              </a:ext>
            </a:extLst>
          </p:cNvPr>
          <p:cNvSpPr/>
          <p:nvPr/>
        </p:nvSpPr>
        <p:spPr>
          <a:xfrm rot="10800000">
            <a:off x="161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任意多边形: 形状 16">
            <a:extLst>
              <a:ext uri="{FF2B5EF4-FFF2-40B4-BE49-F238E27FC236}">
                <a16:creationId xmlns:a16="http://schemas.microsoft.com/office/drawing/2014/main" id="{EE1B7D6E-7D14-5D21-0E94-509E751E4DE0}"/>
              </a:ext>
            </a:extLst>
          </p:cNvPr>
          <p:cNvSpPr/>
          <p:nvPr/>
        </p:nvSpPr>
        <p:spPr>
          <a:xfrm rot="10800000">
            <a:off x="54771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任意多边形: 形状 16">
            <a:extLst>
              <a:ext uri="{FF2B5EF4-FFF2-40B4-BE49-F238E27FC236}">
                <a16:creationId xmlns:a16="http://schemas.microsoft.com/office/drawing/2014/main" id="{E726A242-579A-AB24-A030-15D5933D2A25}"/>
              </a:ext>
            </a:extLst>
          </p:cNvPr>
          <p:cNvSpPr/>
          <p:nvPr/>
        </p:nvSpPr>
        <p:spPr>
          <a:xfrm rot="10800000">
            <a:off x="82203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9111BAA1-ED7E-3EA0-8EDB-9BF87C81E191}"/>
              </a:ext>
            </a:extLst>
          </p:cNvPr>
          <p:cNvSpPr/>
          <p:nvPr/>
        </p:nvSpPr>
        <p:spPr>
          <a:xfrm rot="10800000">
            <a:off x="10963577" y="435430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4" name="任意多边形: 形状 16">
            <a:extLst>
              <a:ext uri="{FF2B5EF4-FFF2-40B4-BE49-F238E27FC236}">
                <a16:creationId xmlns:a16="http://schemas.microsoft.com/office/drawing/2014/main" id="{74143AAD-DF7E-E58A-9CFE-CC44A6E19FDB}"/>
              </a:ext>
            </a:extLst>
          </p:cNvPr>
          <p:cNvSpPr/>
          <p:nvPr/>
        </p:nvSpPr>
        <p:spPr>
          <a:xfrm rot="10800000">
            <a:off x="54610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任意多边形: 形状 16">
            <a:extLst>
              <a:ext uri="{FF2B5EF4-FFF2-40B4-BE49-F238E27FC236}">
                <a16:creationId xmlns:a16="http://schemas.microsoft.com/office/drawing/2014/main" id="{AEC3F187-3C4D-ACE1-2D36-93E09953FB1E}"/>
              </a:ext>
            </a:extLst>
          </p:cNvPr>
          <p:cNvSpPr/>
          <p:nvPr/>
        </p:nvSpPr>
        <p:spPr>
          <a:xfrm rot="10800000">
            <a:off x="82042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F9335E6C-288C-CE4E-5FFC-B6EE0818A026}"/>
              </a:ext>
            </a:extLst>
          </p:cNvPr>
          <p:cNvSpPr/>
          <p:nvPr/>
        </p:nvSpPr>
        <p:spPr>
          <a:xfrm rot="10800000">
            <a:off x="10947400" y="262039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2CF3F3-7E3C-D054-CFE0-16EE4F595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955675"/>
          </a:xfrm>
        </p:spPr>
        <p:txBody>
          <a:bodyPr/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 Takeaway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33E494-E0BB-7EAD-56AF-5A38B37D3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8</a:t>
            </a:fld>
            <a:endParaRPr lang="en-US" dirty="0"/>
          </a:p>
        </p:txBody>
      </p:sp>
      <p:sp>
        <p:nvSpPr>
          <p:cNvPr id="11" name="Freeform 46">
            <a:extLst>
              <a:ext uri="{FF2B5EF4-FFF2-40B4-BE49-F238E27FC236}">
                <a16:creationId xmlns:a16="http://schemas.microsoft.com/office/drawing/2014/main" id="{99E3319D-A189-9DA5-3FBD-F060F8978917}"/>
              </a:ext>
            </a:extLst>
          </p:cNvPr>
          <p:cNvSpPr/>
          <p:nvPr/>
        </p:nvSpPr>
        <p:spPr>
          <a:xfrm>
            <a:off x="527958" y="1694997"/>
            <a:ext cx="264704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Freeform 46">
            <a:extLst>
              <a:ext uri="{FF2B5EF4-FFF2-40B4-BE49-F238E27FC236}">
                <a16:creationId xmlns:a16="http://schemas.microsoft.com/office/drawing/2014/main" id="{734216BB-CD2F-F97C-7332-8BD2B6B18F13}"/>
              </a:ext>
            </a:extLst>
          </p:cNvPr>
          <p:cNvSpPr/>
          <p:nvPr/>
        </p:nvSpPr>
        <p:spPr>
          <a:xfrm>
            <a:off x="3368525" y="1694997"/>
            <a:ext cx="264704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Freeform 46">
            <a:extLst>
              <a:ext uri="{FF2B5EF4-FFF2-40B4-BE49-F238E27FC236}">
                <a16:creationId xmlns:a16="http://schemas.microsoft.com/office/drawing/2014/main" id="{7CA1FB90-7FBD-8282-85D6-B143EB724856}"/>
              </a:ext>
            </a:extLst>
          </p:cNvPr>
          <p:cNvSpPr/>
          <p:nvPr/>
        </p:nvSpPr>
        <p:spPr>
          <a:xfrm>
            <a:off x="6209092" y="1694997"/>
            <a:ext cx="2647042" cy="3978275"/>
          </a:xfrm>
          <a:prstGeom prst="roundRect">
            <a:avLst>
              <a:gd name="adj" fmla="val 4406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Freeform 46">
            <a:extLst>
              <a:ext uri="{FF2B5EF4-FFF2-40B4-BE49-F238E27FC236}">
                <a16:creationId xmlns:a16="http://schemas.microsoft.com/office/drawing/2014/main" id="{42ABAA4F-FAA1-858A-B449-BAB483ED2DC0}"/>
              </a:ext>
            </a:extLst>
          </p:cNvPr>
          <p:cNvSpPr/>
          <p:nvPr/>
        </p:nvSpPr>
        <p:spPr>
          <a:xfrm>
            <a:off x="9049658" y="1694997"/>
            <a:ext cx="264704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DCA2978F-9A49-DA07-5820-02F2A455173C}"/>
              </a:ext>
            </a:extLst>
          </p:cNvPr>
          <p:cNvSpPr txBox="1">
            <a:spLocks/>
          </p:cNvSpPr>
          <p:nvPr/>
        </p:nvSpPr>
        <p:spPr>
          <a:xfrm>
            <a:off x="715283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022AAB5B-A23F-0DD2-AFB6-BC38C985E415}"/>
              </a:ext>
            </a:extLst>
          </p:cNvPr>
          <p:cNvSpPr txBox="1">
            <a:spLocks/>
          </p:cNvSpPr>
          <p:nvPr/>
        </p:nvSpPr>
        <p:spPr>
          <a:xfrm>
            <a:off x="3561170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6DF7EC31-F60C-EEC9-C252-CAA0192F51E8}"/>
              </a:ext>
            </a:extLst>
          </p:cNvPr>
          <p:cNvSpPr txBox="1">
            <a:spLocks/>
          </p:cNvSpPr>
          <p:nvPr/>
        </p:nvSpPr>
        <p:spPr>
          <a:xfrm>
            <a:off x="6401737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CBC066DD-40A2-14C0-3533-5A404A937957}"/>
              </a:ext>
            </a:extLst>
          </p:cNvPr>
          <p:cNvSpPr txBox="1">
            <a:spLocks/>
          </p:cNvSpPr>
          <p:nvPr/>
        </p:nvSpPr>
        <p:spPr>
          <a:xfrm>
            <a:off x="9242303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Rectángulo 6175">
            <a:extLst>
              <a:ext uri="{FF2B5EF4-FFF2-40B4-BE49-F238E27FC236}">
                <a16:creationId xmlns:a16="http://schemas.microsoft.com/office/drawing/2014/main" id="{B0C5F78B-B0B8-A3F1-48D2-38B5A0B60C9B}"/>
              </a:ext>
            </a:extLst>
          </p:cNvPr>
          <p:cNvSpPr/>
          <p:nvPr/>
        </p:nvSpPr>
        <p:spPr>
          <a:xfrm>
            <a:off x="0" y="-72561"/>
            <a:ext cx="12214702" cy="507989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D1B55840-E5EE-A144-2799-10A451EF960B}"/>
              </a:ext>
            </a:extLst>
          </p:cNvPr>
          <p:cNvSpPr txBox="1">
            <a:spLocks/>
          </p:cNvSpPr>
          <p:nvPr/>
        </p:nvSpPr>
        <p:spPr>
          <a:xfrm>
            <a:off x="720600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2A8104DD-1BAA-7307-58AC-EB14B5D5322C}"/>
              </a:ext>
            </a:extLst>
          </p:cNvPr>
          <p:cNvSpPr txBox="1">
            <a:spLocks/>
          </p:cNvSpPr>
          <p:nvPr/>
        </p:nvSpPr>
        <p:spPr>
          <a:xfrm>
            <a:off x="3561167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2B5D1892-3D02-E325-6678-6583A166A04E}"/>
              </a:ext>
            </a:extLst>
          </p:cNvPr>
          <p:cNvSpPr txBox="1">
            <a:spLocks/>
          </p:cNvSpPr>
          <p:nvPr/>
        </p:nvSpPr>
        <p:spPr>
          <a:xfrm>
            <a:off x="6401734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744D449C-67CB-6779-86FC-E1AD76AC1088}"/>
              </a:ext>
            </a:extLst>
          </p:cNvPr>
          <p:cNvSpPr txBox="1">
            <a:spLocks/>
          </p:cNvSpPr>
          <p:nvPr/>
        </p:nvSpPr>
        <p:spPr>
          <a:xfrm>
            <a:off x="9242300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504499A1-E7DB-75EB-6B02-F5AFEA35A77E}"/>
              </a:ext>
            </a:extLst>
          </p:cNvPr>
          <p:cNvSpPr txBox="1">
            <a:spLocks/>
          </p:cNvSpPr>
          <p:nvPr/>
        </p:nvSpPr>
        <p:spPr>
          <a:xfrm>
            <a:off x="715283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view processes for performance issues using traces. Report to Microsoft if internal problem or developers if a customization problem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7DDA2982-3973-8F35-F237-E731BB4D9859}"/>
              </a:ext>
            </a:extLst>
          </p:cNvPr>
          <p:cNvSpPr txBox="1">
            <a:spLocks/>
          </p:cNvSpPr>
          <p:nvPr/>
        </p:nvSpPr>
        <p:spPr>
          <a:xfrm>
            <a:off x="3561170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view database indexes ( if possible and appropriate )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C7A3E6B2-71EF-4E66-44C7-62FBC2494826}"/>
              </a:ext>
            </a:extLst>
          </p:cNvPr>
          <p:cNvSpPr txBox="1">
            <a:spLocks/>
          </p:cNvSpPr>
          <p:nvPr/>
        </p:nvSpPr>
        <p:spPr>
          <a:xfrm>
            <a:off x="6401737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ize with targeted batch jobs if needed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611EFC64-0F5B-6FB6-D406-6FA58D0B2234}"/>
              </a:ext>
            </a:extLst>
          </p:cNvPr>
          <p:cNvSpPr txBox="1">
            <a:spLocks/>
          </p:cNvSpPr>
          <p:nvPr/>
        </p:nvSpPr>
        <p:spPr>
          <a:xfrm>
            <a:off x="9242303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ize for high performance ( if needed )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8B4FA6C-C454-B546-8FBC-AC53D84EA04E}"/>
              </a:ext>
            </a:extLst>
          </p:cNvPr>
          <p:cNvCxnSpPr>
            <a:cxnSpLocks/>
          </p:cNvCxnSpPr>
          <p:nvPr/>
        </p:nvCxnSpPr>
        <p:spPr>
          <a:xfrm>
            <a:off x="723324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589A40D-A467-7B38-A8A8-3DE38C6292FC}"/>
              </a:ext>
            </a:extLst>
          </p:cNvPr>
          <p:cNvCxnSpPr>
            <a:cxnSpLocks/>
          </p:cNvCxnSpPr>
          <p:nvPr/>
        </p:nvCxnSpPr>
        <p:spPr>
          <a:xfrm>
            <a:off x="3563891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8FA5D237-8B78-2A20-2486-ED76512BEDA8}"/>
              </a:ext>
            </a:extLst>
          </p:cNvPr>
          <p:cNvCxnSpPr>
            <a:cxnSpLocks/>
          </p:cNvCxnSpPr>
          <p:nvPr/>
        </p:nvCxnSpPr>
        <p:spPr>
          <a:xfrm>
            <a:off x="6404458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BCD22BC-E91A-32BD-B794-E514E09D5BC8}"/>
              </a:ext>
            </a:extLst>
          </p:cNvPr>
          <p:cNvCxnSpPr>
            <a:cxnSpLocks/>
          </p:cNvCxnSpPr>
          <p:nvPr/>
        </p:nvCxnSpPr>
        <p:spPr>
          <a:xfrm>
            <a:off x="9245024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>
            <a:extLst>
              <a:ext uri="{FF2B5EF4-FFF2-40B4-BE49-F238E27FC236}">
                <a16:creationId xmlns:a16="http://schemas.microsoft.com/office/drawing/2014/main" id="{169851E6-0F63-F62C-0625-37C7CF34E3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3843" y="4384438"/>
            <a:ext cx="1849041" cy="2214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6EEA3583-75ED-4B51-524B-4129EADEF4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0616" y="4397176"/>
            <a:ext cx="1793570" cy="2214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D6A9A583-56DB-C582-E47D-DB4DADBD51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440" y="4395794"/>
            <a:ext cx="1793570" cy="2202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74B963BA-64C7-B298-2FB3-10FEE8ACD6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841" y="4437603"/>
            <a:ext cx="2174212" cy="2234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AC561A10-73C2-0BE6-1191-0EFB6ADFD93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8191" y="-277110"/>
            <a:ext cx="2617415" cy="1176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03830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6F8423-86D6-5A44-708E-E3F94F498B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6175">
            <a:extLst>
              <a:ext uri="{FF2B5EF4-FFF2-40B4-BE49-F238E27FC236}">
                <a16:creationId xmlns:a16="http://schemas.microsoft.com/office/drawing/2014/main" id="{1409E5F4-62E1-1E95-7E83-94FE438906B0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white machine made of legos&#10;&#10;Description automatically generated">
            <a:extLst>
              <a:ext uri="{FF2B5EF4-FFF2-40B4-BE49-F238E27FC236}">
                <a16:creationId xmlns:a16="http://schemas.microsoft.com/office/drawing/2014/main" id="{6D606261-980F-1685-E664-BA9EBD850B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514" y="7604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44D62F9-9C37-C986-F8A6-EC9AB522BF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44D62F9-9C37-C986-F8A6-EC9AB522BF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2F8EC212-9250-1C45-0584-60E6207A29CB}"/>
              </a:ext>
            </a:extLst>
          </p:cNvPr>
          <p:cNvSpPr/>
          <p:nvPr/>
        </p:nvSpPr>
        <p:spPr>
          <a:xfrm>
            <a:off x="834055" y="471948"/>
            <a:ext cx="10523889" cy="5032596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17ED6181-1E26-367C-7ADC-EE59F7F9193E}"/>
              </a:ext>
            </a:extLst>
          </p:cNvPr>
          <p:cNvSpPr/>
          <p:nvPr/>
        </p:nvSpPr>
        <p:spPr>
          <a:xfrm>
            <a:off x="6460791" y="792843"/>
            <a:ext cx="4572268" cy="4385889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33E3AE-765E-2F4B-DFCB-DE2F73231EE7}"/>
              </a:ext>
            </a:extLst>
          </p:cNvPr>
          <p:cNvCxnSpPr>
            <a:cxnSpLocks/>
          </p:cNvCxnSpPr>
          <p:nvPr/>
        </p:nvCxnSpPr>
        <p:spPr>
          <a:xfrm>
            <a:off x="6487094" y="2187087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redondeado 14">
            <a:extLst>
              <a:ext uri="{FF2B5EF4-FFF2-40B4-BE49-F238E27FC236}">
                <a16:creationId xmlns:a16="http://schemas.microsoft.com/office/drawing/2014/main" id="{6A2D5526-B9E9-9390-70F0-E6CE8B3C8B74}"/>
              </a:ext>
            </a:extLst>
          </p:cNvPr>
          <p:cNvSpPr/>
          <p:nvPr/>
        </p:nvSpPr>
        <p:spPr>
          <a:xfrm>
            <a:off x="6016819" y="4935544"/>
            <a:ext cx="5919542" cy="176022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ángulo 12">
            <a:extLst>
              <a:ext uri="{FF2B5EF4-FFF2-40B4-BE49-F238E27FC236}">
                <a16:creationId xmlns:a16="http://schemas.microsoft.com/office/drawing/2014/main" id="{E467F2CC-873C-8A39-D9EA-CBBD0DED99EB}"/>
              </a:ext>
            </a:extLst>
          </p:cNvPr>
          <p:cNvSpPr/>
          <p:nvPr/>
        </p:nvSpPr>
        <p:spPr>
          <a:xfrm>
            <a:off x="6940568" y="2187087"/>
            <a:ext cx="3723417" cy="255454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THANK</a:t>
            </a:r>
            <a:endParaRPr lang="en-US" sz="7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80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YOU! </a:t>
            </a:r>
            <a:endParaRPr lang="en-US" sz="80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18" name="Picture 17" descr="A close-up of a company logo&#10;&#10;Description automatically generated">
            <a:extLst>
              <a:ext uri="{FF2B5EF4-FFF2-40B4-BE49-F238E27FC236}">
                <a16:creationId xmlns:a16="http://schemas.microsoft.com/office/drawing/2014/main" id="{0DF36BF4-1564-160C-698C-B1DDDB3E6A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7444" y="4044845"/>
            <a:ext cx="2729907" cy="971107"/>
          </a:xfrm>
          <a:prstGeom prst="rect">
            <a:avLst/>
          </a:prstGeom>
        </p:spPr>
      </p:pic>
      <p:pic>
        <p:nvPicPr>
          <p:cNvPr id="27" name="Picture 26" descr="A white toy with black stripes and a white helmet&#10;&#10;Description automatically generated with medium confidence">
            <a:extLst>
              <a:ext uri="{FF2B5EF4-FFF2-40B4-BE49-F238E27FC236}">
                <a16:creationId xmlns:a16="http://schemas.microsoft.com/office/drawing/2014/main" id="{15F25A66-5FAD-2374-BA26-33FD9EC16B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785" y="3655810"/>
            <a:ext cx="1464638" cy="3443696"/>
          </a:xfrm>
          <a:prstGeom prst="rect">
            <a:avLst/>
          </a:prstGeom>
        </p:spPr>
      </p:pic>
      <p:pic>
        <p:nvPicPr>
          <p:cNvPr id="29" name="Picture 28" descr="A group of colorful squares&#10;&#10;Description automatically generated">
            <a:extLst>
              <a:ext uri="{FF2B5EF4-FFF2-40B4-BE49-F238E27FC236}">
                <a16:creationId xmlns:a16="http://schemas.microsoft.com/office/drawing/2014/main" id="{852550F8-DC38-7699-3002-6AE25D5FF7D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45" y="1235989"/>
            <a:ext cx="591736" cy="591736"/>
          </a:xfrm>
          <a:prstGeom prst="rect">
            <a:avLst/>
          </a:prstGeom>
        </p:spPr>
      </p:pic>
      <p:sp>
        <p:nvSpPr>
          <p:cNvPr id="34" name="Rectángulo 12">
            <a:extLst>
              <a:ext uri="{FF2B5EF4-FFF2-40B4-BE49-F238E27FC236}">
                <a16:creationId xmlns:a16="http://schemas.microsoft.com/office/drawing/2014/main" id="{A21EF051-FF6B-1F6C-6EC5-30C67E89C1F9}"/>
              </a:ext>
            </a:extLst>
          </p:cNvPr>
          <p:cNvSpPr/>
          <p:nvPr/>
        </p:nvSpPr>
        <p:spPr>
          <a:xfrm>
            <a:off x="6887988" y="1074467"/>
            <a:ext cx="4338014" cy="830997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Sponsors </a:t>
            </a:r>
            <a:endParaRPr lang="en-US" sz="4800" b="1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ángulo redondeado 14">
            <a:extLst>
              <a:ext uri="{FF2B5EF4-FFF2-40B4-BE49-F238E27FC236}">
                <a16:creationId xmlns:a16="http://schemas.microsoft.com/office/drawing/2014/main" id="{CB606FAF-D89C-AB6F-2D32-9B9D6097712F}"/>
              </a:ext>
            </a:extLst>
          </p:cNvPr>
          <p:cNvSpPr/>
          <p:nvPr/>
        </p:nvSpPr>
        <p:spPr>
          <a:xfrm>
            <a:off x="6175182" y="504630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6EFE81A1-8B60-0D97-8AC1-3946C210593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6175182" y="5039844"/>
            <a:ext cx="5069888" cy="149049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901A222-FEB6-19E5-31DC-E95457F2891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133" y="5201332"/>
            <a:ext cx="878993" cy="878993"/>
          </a:xfrm>
          <a:prstGeom prst="rect">
            <a:avLst/>
          </a:prstGeom>
        </p:spPr>
      </p:pic>
      <p:pic>
        <p:nvPicPr>
          <p:cNvPr id="1028" name="Picture 4" descr="Image result for staedean logo">
            <a:extLst>
              <a:ext uri="{FF2B5EF4-FFF2-40B4-BE49-F238E27FC236}">
                <a16:creationId xmlns:a16="http://schemas.microsoft.com/office/drawing/2014/main" id="{A4C958EC-3047-D054-F1E0-BBC6E0B3AF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2708" y="2441242"/>
            <a:ext cx="4203195" cy="1347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Unsere Partner | sensatus GmbH">
            <a:extLst>
              <a:ext uri="{FF2B5EF4-FFF2-40B4-BE49-F238E27FC236}">
                <a16:creationId xmlns:a16="http://schemas.microsoft.com/office/drawing/2014/main" id="{FF293F16-6729-257C-3090-F5963879C4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2742" y="630710"/>
            <a:ext cx="3819898" cy="1994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A logo with blue and white text&#10;&#10;Description automatically generated">
            <a:extLst>
              <a:ext uri="{FF2B5EF4-FFF2-40B4-BE49-F238E27FC236}">
                <a16:creationId xmlns:a16="http://schemas.microsoft.com/office/drawing/2014/main" id="{697DFFE4-3AFB-098E-99A6-472A0344889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1047" y="3421170"/>
            <a:ext cx="2008372" cy="1850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314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FF2EA-BF45-F4B5-0A9B-C977EF3601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9F12F2EB-D120-31FE-8DCB-78C5D376C4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50198B-6B03-0A1A-0381-9E26029E07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If you have common views you use or have a lot you want to use…</a:t>
            </a:r>
          </a:p>
          <a:p>
            <a:r>
              <a:rPr lang="en-US" sz="3200" dirty="0"/>
              <a:t>Make a workspace</a:t>
            </a:r>
          </a:p>
          <a:p>
            <a:r>
              <a:rPr lang="en-US" sz="3200" dirty="0"/>
              <a:t>Home page &gt; right click in workspaces &gt; personalize workspaces &gt; Add pages &gt; Workspace</a:t>
            </a:r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15368F-5DFE-4542-E497-DE798AE27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EE559903-E90F-9ED7-CF3A-20859A9981F2}"/>
              </a:ext>
            </a:extLst>
          </p:cNvPr>
          <p:cNvSpPr/>
          <p:nvPr/>
        </p:nvSpPr>
        <p:spPr>
          <a:xfrm>
            <a:off x="207123" y="215979"/>
            <a:ext cx="9444878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3AA9784-6F66-EEEC-873A-CA96DFF5E0C5}"/>
              </a:ext>
            </a:extLst>
          </p:cNvPr>
          <p:cNvSpPr/>
          <p:nvPr/>
        </p:nvSpPr>
        <p:spPr>
          <a:xfrm>
            <a:off x="676534" y="396696"/>
            <a:ext cx="7415414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Workspaces</a:t>
            </a:r>
          </a:p>
        </p:txBody>
      </p:sp>
      <p:pic>
        <p:nvPicPr>
          <p:cNvPr id="2" name="Content Placeholder 11" descr="A logo with a black background">
            <a:extLst>
              <a:ext uri="{FF2B5EF4-FFF2-40B4-BE49-F238E27FC236}">
                <a16:creationId xmlns:a16="http://schemas.microsoft.com/office/drawing/2014/main" id="{9B64B702-2DF4-0FBE-3ECF-D310CFB0EA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916" y="-84227"/>
            <a:ext cx="3751522" cy="211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7012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425AE-0A9C-0304-00EB-578B2C9D3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496DD-5DA7-44FF-112A-B387A2A180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0A06DC-8E4E-FF02-DD53-0AA0686C8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F7374-697A-BC84-0E57-3B40DCFBD1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1679" y="470079"/>
            <a:ext cx="8684073" cy="6102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1200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YrUCN03eCDNc_P3yFC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UDTVFP9DJhd2EN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gy2WGaKMRMxuq9KC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Uq_0bGD5mMVlqliRQc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YrUCN03eCDNc_P3yFCC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92010D712AC7499BCB553F8EA96888" ma:contentTypeVersion="4" ma:contentTypeDescription="Create a new document." ma:contentTypeScope="" ma:versionID="f3baf2d602caed5fd420f14353e1cf35">
  <xsd:schema xmlns:xsd="http://www.w3.org/2001/XMLSchema" xmlns:xs="http://www.w3.org/2001/XMLSchema" xmlns:p="http://schemas.microsoft.com/office/2006/metadata/properties" xmlns:ns2="b040c7ca-58b9-4018-9f7e-b5ef031252f6" targetNamespace="http://schemas.microsoft.com/office/2006/metadata/properties" ma:root="true" ma:fieldsID="97c90aa385e5e0408cc66e1905ef6394" ns2:_="">
    <xsd:import namespace="b040c7ca-58b9-4018-9f7e-b5ef031252f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40c7ca-58b9-4018-9f7e-b5ef03125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F6FF0BC-8E92-4EE2-BF94-F76151E6AF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40c7ca-58b9-4018-9f7e-b5ef031252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D2D7910-5D8E-498A-94C4-4E9E3CF44F5C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7FA9A3B-6F32-446F-AE25-152FBD7174B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966</TotalTime>
  <Words>1183</Words>
  <Application>Microsoft Office PowerPoint</Application>
  <PresentationFormat>Widescreen</PresentationFormat>
  <Paragraphs>262</Paragraphs>
  <Slides>7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9</vt:i4>
      </vt:variant>
    </vt:vector>
  </HeadingPairs>
  <TitlesOfParts>
    <vt:vector size="87" baseType="lpstr">
      <vt:lpstr>Arial</vt:lpstr>
      <vt:lpstr>Calibri</vt:lpstr>
      <vt:lpstr>Calibri Light</vt:lpstr>
      <vt:lpstr>Poppins</vt:lpstr>
      <vt:lpstr>Segoe UI</vt:lpstr>
      <vt:lpstr>segoe ui black</vt:lpstr>
      <vt:lpstr>Office Theme</vt:lpstr>
      <vt:lpstr>think-cell Slide</vt:lpstr>
      <vt:lpstr>PowerPoint Presentation</vt:lpstr>
      <vt:lpstr>Intr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ey Takeaways</vt:lpstr>
      <vt:lpstr>Key Takeaway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wer Community; Raz Dynamics</dc:creator>
  <cp:lastModifiedBy>Nathan Clouse</cp:lastModifiedBy>
  <cp:revision>135</cp:revision>
  <dcterms:created xsi:type="dcterms:W3CDTF">2020-10-26T06:25:39Z</dcterms:created>
  <dcterms:modified xsi:type="dcterms:W3CDTF">2025-02-14T03:5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92010D712AC7499BCB553F8EA96888</vt:lpwstr>
  </property>
</Properties>
</file>